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media/image4.jpg" ContentType="image/jpeg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3.xml" ContentType="application/vnd.openxmlformats-officedocument.presentationml.notesSlide+xml"/>
  <Override PartName="/ppt/media/image52.jpg" ContentType="image/jpeg"/>
  <Override PartName="/ppt/media/image53.jpg" ContentType="image/jpeg"/>
  <Override PartName="/ppt/media/image56.jpg" ContentType="image/jpeg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media/image57.jpg" ContentType="image/jpeg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media/image59.jpg" ContentType="image/jpeg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media/image70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7"/>
  </p:notesMasterIdLst>
  <p:handoutMasterIdLst>
    <p:handoutMasterId r:id="rId18"/>
  </p:handoutMasterIdLst>
  <p:sldIdLst>
    <p:sldId id="526" r:id="rId5"/>
    <p:sldId id="381" r:id="rId6"/>
    <p:sldId id="523" r:id="rId7"/>
    <p:sldId id="522" r:id="rId8"/>
    <p:sldId id="382" r:id="rId9"/>
    <p:sldId id="520" r:id="rId10"/>
    <p:sldId id="349" r:id="rId11"/>
    <p:sldId id="528" r:id="rId12"/>
    <p:sldId id="389" r:id="rId13"/>
    <p:sldId id="365" r:id="rId14"/>
    <p:sldId id="530" r:id="rId15"/>
    <p:sldId id="427" r:id="rId16"/>
  </p:sldIdLst>
  <p:sldSz cx="12192000" cy="6858000"/>
  <p:notesSz cx="6858000" cy="9144000"/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772" userDrawn="1">
          <p15:clr>
            <a:srgbClr val="A4A3A4"/>
          </p15:clr>
        </p15:guide>
        <p15:guide id="3" orient="horz" pos="1094" userDrawn="1">
          <p15:clr>
            <a:srgbClr val="A4A3A4"/>
          </p15:clr>
        </p15:guide>
        <p15:guide id="4" orient="horz" pos="4042" userDrawn="1">
          <p15:clr>
            <a:srgbClr val="A4A3A4"/>
          </p15:clr>
        </p15:guide>
        <p15:guide id="5" pos="7537" userDrawn="1">
          <p15:clr>
            <a:srgbClr val="A4A3A4"/>
          </p15:clr>
        </p15:guide>
        <p15:guide id="6" pos="143" userDrawn="1">
          <p15:clr>
            <a:srgbClr val="A4A3A4"/>
          </p15:clr>
        </p15:guide>
        <p15:guide id="7" pos="39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21" autoAdjust="0"/>
  </p:normalViewPr>
  <p:slideViewPr>
    <p:cSldViewPr showGuides="1">
      <p:cViewPr varScale="1">
        <p:scale>
          <a:sx n="80" d="100"/>
          <a:sy n="80" d="100"/>
        </p:scale>
        <p:origin x="68" y="88"/>
      </p:cViewPr>
      <p:guideLst>
        <p:guide pos="3772"/>
        <p:guide orient="horz" pos="1094"/>
        <p:guide orient="horz" pos="4042"/>
        <p:guide pos="7537"/>
        <p:guide pos="143"/>
        <p:guide pos="39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73" d="100"/>
          <a:sy n="73" d="100"/>
        </p:scale>
        <p:origin x="356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emf"/><Relationship Id="rId1" Type="http://schemas.openxmlformats.org/officeDocument/2006/relationships/image" Target="../media/image57.jp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image" Target="../media/image59.jp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svg"/><Relationship Id="rId1" Type="http://schemas.openxmlformats.org/officeDocument/2006/relationships/image" Target="../media/image62.png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emf"/><Relationship Id="rId1" Type="http://schemas.openxmlformats.org/officeDocument/2006/relationships/image" Target="../media/image57.jp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image" Target="../media/image59.jp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svg"/><Relationship Id="rId1" Type="http://schemas.openxmlformats.org/officeDocument/2006/relationships/image" Target="../media/image62.png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008656-AA2D-4918-92BF-5C65344F66E8}" type="doc">
      <dgm:prSet loTypeId="urn:microsoft.com/office/officeart/2005/8/layout/vList4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2E6DFB6B-962D-4D0C-9B40-D28492BA1FFB}">
      <dgm:prSet phldrT="[Text]"/>
      <dgm:spPr/>
      <dgm:t>
        <a:bodyPr/>
        <a:lstStyle/>
        <a:p>
          <a:r>
            <a:rPr lang="en-US"/>
            <a:t>Project Management </a:t>
          </a:r>
        </a:p>
      </dgm:t>
    </dgm:pt>
    <dgm:pt modelId="{544672B8-88CF-4CBE-A39C-BE1683BD48E9}" type="parTrans" cxnId="{A69EAD36-35F1-4B8A-BFC7-F9D5BE1260CD}">
      <dgm:prSet/>
      <dgm:spPr/>
      <dgm:t>
        <a:bodyPr/>
        <a:lstStyle/>
        <a:p>
          <a:endParaRPr lang="en-US"/>
        </a:p>
      </dgm:t>
    </dgm:pt>
    <dgm:pt modelId="{DAAAC0B1-778D-49E9-95AB-0EF97DE2E6DA}" type="sibTrans" cxnId="{A69EAD36-35F1-4B8A-BFC7-F9D5BE1260CD}">
      <dgm:prSet/>
      <dgm:spPr/>
      <dgm:t>
        <a:bodyPr/>
        <a:lstStyle/>
        <a:p>
          <a:endParaRPr lang="en-US"/>
        </a:p>
      </dgm:t>
    </dgm:pt>
    <dgm:pt modelId="{3C8E5304-5098-45CB-A00A-0CC729E2BB31}">
      <dgm:prSet phldrT="[Text]"/>
      <dgm:spPr/>
      <dgm:t>
        <a:bodyPr/>
        <a:lstStyle/>
        <a:p>
          <a:r>
            <a:rPr lang="en-US"/>
            <a:t>Hardware Design &amp; Validation</a:t>
          </a:r>
        </a:p>
      </dgm:t>
    </dgm:pt>
    <dgm:pt modelId="{22DDC09B-82DB-4732-A1D1-C71B7132E34D}" type="parTrans" cxnId="{8AD72007-A440-43E1-B222-E0BAE67118B1}">
      <dgm:prSet/>
      <dgm:spPr/>
      <dgm:t>
        <a:bodyPr/>
        <a:lstStyle/>
        <a:p>
          <a:endParaRPr lang="en-US"/>
        </a:p>
      </dgm:t>
    </dgm:pt>
    <dgm:pt modelId="{143B6960-47BD-4909-B2D1-10EF5E9B3ED3}" type="sibTrans" cxnId="{8AD72007-A440-43E1-B222-E0BAE67118B1}">
      <dgm:prSet/>
      <dgm:spPr/>
      <dgm:t>
        <a:bodyPr/>
        <a:lstStyle/>
        <a:p>
          <a:endParaRPr lang="en-US"/>
        </a:p>
      </dgm:t>
    </dgm:pt>
    <dgm:pt modelId="{AC9E4AEC-83F2-47D7-A0AC-75ED56E0F0E3}">
      <dgm:prSet phldrT="[Text]"/>
      <dgm:spPr/>
      <dgm:t>
        <a:bodyPr/>
        <a:lstStyle/>
        <a:p>
          <a:r>
            <a:rPr lang="en-US"/>
            <a:t>Technical project management from acquisition to SOP</a:t>
          </a:r>
        </a:p>
      </dgm:t>
    </dgm:pt>
    <dgm:pt modelId="{C4D212CB-3DFC-44EC-BB14-D504AE4D756B}" type="parTrans" cxnId="{44C08DA4-886E-4D85-B14B-9670A5BB35E0}">
      <dgm:prSet/>
      <dgm:spPr/>
      <dgm:t>
        <a:bodyPr/>
        <a:lstStyle/>
        <a:p>
          <a:endParaRPr lang="en-US"/>
        </a:p>
      </dgm:t>
    </dgm:pt>
    <dgm:pt modelId="{5D32E3B6-9DB6-4E90-96E8-3B1481270B5F}" type="sibTrans" cxnId="{44C08DA4-886E-4D85-B14B-9670A5BB35E0}">
      <dgm:prSet/>
      <dgm:spPr/>
      <dgm:t>
        <a:bodyPr/>
        <a:lstStyle/>
        <a:p>
          <a:endParaRPr lang="en-US"/>
        </a:p>
      </dgm:t>
    </dgm:pt>
    <dgm:pt modelId="{8F5C7070-AE5C-4B98-BFC4-64FE809B8320}">
      <dgm:prSet/>
      <dgm:spPr/>
      <dgm:t>
        <a:bodyPr/>
        <a:lstStyle/>
        <a:p>
          <a:r>
            <a:rPr lang="en-US"/>
            <a:t>Proven records on discipline level (software, testing)</a:t>
          </a:r>
        </a:p>
      </dgm:t>
    </dgm:pt>
    <dgm:pt modelId="{F48558D7-EC6C-4BE3-B29F-FA9B32402229}" type="parTrans" cxnId="{A8E3CF27-C9AE-4220-B3F9-C5607BFC55E2}">
      <dgm:prSet/>
      <dgm:spPr/>
      <dgm:t>
        <a:bodyPr/>
        <a:lstStyle/>
        <a:p>
          <a:endParaRPr lang="en-US"/>
        </a:p>
      </dgm:t>
    </dgm:pt>
    <dgm:pt modelId="{A9ECF8A9-8D5C-4B3E-9D7F-E7D4E6ED7961}" type="sibTrans" cxnId="{A8E3CF27-C9AE-4220-B3F9-C5607BFC55E2}">
      <dgm:prSet/>
      <dgm:spPr/>
      <dgm:t>
        <a:bodyPr/>
        <a:lstStyle/>
        <a:p>
          <a:endParaRPr lang="en-US"/>
        </a:p>
      </dgm:t>
    </dgm:pt>
    <dgm:pt modelId="{7E790887-16EE-4492-83C8-92D6963AFD67}">
      <dgm:prSet/>
      <dgm:spPr/>
      <dgm:t>
        <a:bodyPr/>
        <a:lstStyle/>
        <a:p>
          <a:r>
            <a:rPr lang="en-US"/>
            <a:t>Tracking of activities</a:t>
          </a:r>
        </a:p>
      </dgm:t>
    </dgm:pt>
    <dgm:pt modelId="{B11E87E9-3D63-4CEE-91A1-B5B565877B25}" type="parTrans" cxnId="{29D47FEE-A2A1-4BE0-BC49-E6C59DEDC14A}">
      <dgm:prSet/>
      <dgm:spPr/>
      <dgm:t>
        <a:bodyPr/>
        <a:lstStyle/>
        <a:p>
          <a:endParaRPr lang="en-US"/>
        </a:p>
      </dgm:t>
    </dgm:pt>
    <dgm:pt modelId="{A167A97E-5A74-46C7-9D29-5378B828862D}" type="sibTrans" cxnId="{29D47FEE-A2A1-4BE0-BC49-E6C59DEDC14A}">
      <dgm:prSet/>
      <dgm:spPr/>
      <dgm:t>
        <a:bodyPr/>
        <a:lstStyle/>
        <a:p>
          <a:endParaRPr lang="en-US"/>
        </a:p>
      </dgm:t>
    </dgm:pt>
    <dgm:pt modelId="{06E75529-3E1A-42E9-A02D-B2156D3E9084}">
      <dgm:prSet/>
      <dgm:spPr/>
      <dgm:t>
        <a:bodyPr/>
        <a:lstStyle/>
        <a:p>
          <a:r>
            <a:rPr lang="en-US"/>
            <a:t>Error management</a:t>
          </a:r>
        </a:p>
      </dgm:t>
    </dgm:pt>
    <dgm:pt modelId="{F35B9320-E17D-4225-A2C5-FD57A22C40BA}" type="parTrans" cxnId="{2A59162F-E766-4699-8024-15C9AC82A0B7}">
      <dgm:prSet/>
      <dgm:spPr/>
      <dgm:t>
        <a:bodyPr/>
        <a:lstStyle/>
        <a:p>
          <a:endParaRPr lang="en-US"/>
        </a:p>
      </dgm:t>
    </dgm:pt>
    <dgm:pt modelId="{D28B3FDF-A6E8-47E8-9AA0-F19F0C2707CC}" type="sibTrans" cxnId="{2A59162F-E766-4699-8024-15C9AC82A0B7}">
      <dgm:prSet/>
      <dgm:spPr/>
      <dgm:t>
        <a:bodyPr/>
        <a:lstStyle/>
        <a:p>
          <a:endParaRPr lang="en-US"/>
        </a:p>
      </dgm:t>
    </dgm:pt>
    <dgm:pt modelId="{E9DA8316-6068-46AA-8256-D70FC2209417}">
      <dgm:prSet phldrT="[Text]"/>
      <dgm:spPr/>
      <dgm:t>
        <a:bodyPr/>
        <a:lstStyle/>
        <a:p>
          <a:r>
            <a:rPr lang="en-US"/>
            <a:t>Mechanical Design</a:t>
          </a:r>
        </a:p>
      </dgm:t>
    </dgm:pt>
    <dgm:pt modelId="{432A1DBB-5A7B-4EA4-ADBF-E578D05AE478}" type="parTrans" cxnId="{10BA9BC4-7DDE-491E-90FE-4789172B2386}">
      <dgm:prSet/>
      <dgm:spPr/>
      <dgm:t>
        <a:bodyPr/>
        <a:lstStyle/>
        <a:p>
          <a:endParaRPr lang="en-US"/>
        </a:p>
      </dgm:t>
    </dgm:pt>
    <dgm:pt modelId="{5CA1BA02-AA5B-4861-A15D-2C30E49537BA}" type="sibTrans" cxnId="{10BA9BC4-7DDE-491E-90FE-4789172B2386}">
      <dgm:prSet/>
      <dgm:spPr/>
      <dgm:t>
        <a:bodyPr/>
        <a:lstStyle/>
        <a:p>
          <a:endParaRPr lang="en-US"/>
        </a:p>
      </dgm:t>
    </dgm:pt>
    <dgm:pt modelId="{0C0812CD-D228-4B74-BAFC-F194AA1FD657}">
      <dgm:prSet phldrT="[Text]"/>
      <dgm:spPr/>
      <dgm:t>
        <a:bodyPr/>
        <a:lstStyle/>
        <a:p>
          <a:pPr>
            <a:buFontTx/>
            <a:buChar char="••"/>
          </a:pPr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Complete layout according to EMC/ESD rules</a:t>
          </a:r>
          <a:endParaRPr lang="en-US"/>
        </a:p>
      </dgm:t>
    </dgm:pt>
    <dgm:pt modelId="{085F5005-6351-41B7-8F6B-D780E01A5A7F}" type="parTrans" cxnId="{47882CA9-BE6C-4F8B-8C0B-A10F374CACDF}">
      <dgm:prSet/>
      <dgm:spPr/>
      <dgm:t>
        <a:bodyPr/>
        <a:lstStyle/>
        <a:p>
          <a:endParaRPr lang="en-US"/>
        </a:p>
      </dgm:t>
    </dgm:pt>
    <dgm:pt modelId="{12B680E8-11AD-4D57-AD92-59A656B5ECDA}" type="sibTrans" cxnId="{47882CA9-BE6C-4F8B-8C0B-A10F374CACDF}">
      <dgm:prSet/>
      <dgm:spPr/>
      <dgm:t>
        <a:bodyPr/>
        <a:lstStyle/>
        <a:p>
          <a:endParaRPr lang="en-US"/>
        </a:p>
      </dgm:t>
    </dgm:pt>
    <dgm:pt modelId="{B24E7B37-B455-422E-BF2E-44BF49459256}">
      <dgm:prSet phldrT="[Text]"/>
      <dgm:spPr/>
      <dgm:t>
        <a:bodyPr/>
        <a:lstStyle/>
        <a:p>
          <a:pPr>
            <a:buFontTx/>
            <a:buChar char="••"/>
          </a:pPr>
          <a:r>
            <a:rPr lang="en-US"/>
            <a:t>Complete </a:t>
          </a:r>
          <a:r>
            <a:rPr lang="en-US" b="1"/>
            <a:t>design</a:t>
          </a:r>
          <a:r>
            <a:rPr lang="en-US"/>
            <a:t> according to OEM specific hardware requirements</a:t>
          </a:r>
        </a:p>
      </dgm:t>
    </dgm:pt>
    <dgm:pt modelId="{653E447A-AF4D-4760-B912-3F89FE6A86A8}" type="parTrans" cxnId="{8F27085A-0D49-4818-B958-DAC63D859AB6}">
      <dgm:prSet/>
      <dgm:spPr/>
      <dgm:t>
        <a:bodyPr/>
        <a:lstStyle/>
        <a:p>
          <a:endParaRPr lang="en-US"/>
        </a:p>
      </dgm:t>
    </dgm:pt>
    <dgm:pt modelId="{3A2F0788-6582-4497-99EB-108C51F1A8C1}" type="sibTrans" cxnId="{8F27085A-0D49-4818-B958-DAC63D859AB6}">
      <dgm:prSet/>
      <dgm:spPr/>
      <dgm:t>
        <a:bodyPr/>
        <a:lstStyle/>
        <a:p>
          <a:endParaRPr lang="en-US"/>
        </a:p>
      </dgm:t>
    </dgm:pt>
    <dgm:pt modelId="{C8D58DBE-9AFF-4C45-AD10-800FA67F33B8}">
      <dgm:prSet/>
      <dgm:spPr/>
      <dgm:t>
        <a:bodyPr/>
        <a:lstStyle/>
        <a:p>
          <a:r>
            <a:rPr lang="en-US"/>
            <a:t>Verification of electrical requirements according  to customer definition</a:t>
          </a:r>
        </a:p>
      </dgm:t>
    </dgm:pt>
    <dgm:pt modelId="{D97AEC64-20B9-4BE6-AAD6-BF5D581B245F}" type="parTrans" cxnId="{8B79D5DF-1F1C-47EE-9148-85EDE67DFD48}">
      <dgm:prSet/>
      <dgm:spPr/>
      <dgm:t>
        <a:bodyPr/>
        <a:lstStyle/>
        <a:p>
          <a:endParaRPr lang="en-US"/>
        </a:p>
      </dgm:t>
    </dgm:pt>
    <dgm:pt modelId="{D23961BD-E391-404B-892D-5B10F2DEB938}" type="sibTrans" cxnId="{8B79D5DF-1F1C-47EE-9148-85EDE67DFD48}">
      <dgm:prSet/>
      <dgm:spPr/>
      <dgm:t>
        <a:bodyPr/>
        <a:lstStyle/>
        <a:p>
          <a:endParaRPr lang="en-US"/>
        </a:p>
      </dgm:t>
    </dgm:pt>
    <dgm:pt modelId="{614F6D96-4AE5-4CC1-8A7C-72C7E92D576C}">
      <dgm:prSet/>
      <dgm:spPr/>
      <dgm:t>
        <a:bodyPr/>
        <a:lstStyle/>
        <a:p>
          <a:r>
            <a:rPr lang="en-US" b="1"/>
            <a:t>EMC / ESD </a:t>
          </a:r>
          <a:r>
            <a:rPr lang="en-US"/>
            <a:t>related validations</a:t>
          </a:r>
        </a:p>
      </dgm:t>
    </dgm:pt>
    <dgm:pt modelId="{782DA819-2AA4-4D05-838D-262EC26B26B9}" type="parTrans" cxnId="{517B64D1-1DF4-410C-B7F8-EA5F55C929F4}">
      <dgm:prSet/>
      <dgm:spPr/>
      <dgm:t>
        <a:bodyPr/>
        <a:lstStyle/>
        <a:p>
          <a:endParaRPr lang="en-US"/>
        </a:p>
      </dgm:t>
    </dgm:pt>
    <dgm:pt modelId="{E5F3018A-E4A5-4FEA-89BC-297B8CCF69AA}" type="sibTrans" cxnId="{517B64D1-1DF4-410C-B7F8-EA5F55C929F4}">
      <dgm:prSet/>
      <dgm:spPr/>
      <dgm:t>
        <a:bodyPr/>
        <a:lstStyle/>
        <a:p>
          <a:endParaRPr lang="en-US"/>
        </a:p>
      </dgm:t>
    </dgm:pt>
    <dgm:pt modelId="{A3790B79-AB77-4A96-8EC8-032A3D2F9BDB}">
      <dgm:prSet/>
      <dgm:spPr/>
      <dgm:t>
        <a:bodyPr/>
        <a:lstStyle/>
        <a:p>
          <a:r>
            <a:rPr lang="en-US"/>
            <a:t>Product and design validation activities</a:t>
          </a:r>
        </a:p>
      </dgm:t>
    </dgm:pt>
    <dgm:pt modelId="{BA53FF3C-4A1F-4449-B910-7F2FE9EB14A2}" type="parTrans" cxnId="{04E4CB63-E6AF-4BF5-BB90-2C40CCA03B62}">
      <dgm:prSet/>
      <dgm:spPr/>
      <dgm:t>
        <a:bodyPr/>
        <a:lstStyle/>
        <a:p>
          <a:endParaRPr lang="en-US"/>
        </a:p>
      </dgm:t>
    </dgm:pt>
    <dgm:pt modelId="{648EF17D-EDEE-4A2D-BC69-6451AD55B3C0}" type="sibTrans" cxnId="{04E4CB63-E6AF-4BF5-BB90-2C40CCA03B62}">
      <dgm:prSet/>
      <dgm:spPr/>
      <dgm:t>
        <a:bodyPr/>
        <a:lstStyle/>
        <a:p>
          <a:endParaRPr lang="en-US"/>
        </a:p>
      </dgm:t>
    </dgm:pt>
    <dgm:pt modelId="{571844AC-5872-45D5-A108-FD7D641F4C1B}">
      <dgm:prSet/>
      <dgm:spPr/>
      <dgm:t>
        <a:bodyPr/>
        <a:lstStyle/>
        <a:p>
          <a:r>
            <a:rPr lang="en-US" b="1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3D models</a:t>
          </a:r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 using CATIA v5 under OEM specific environment </a:t>
          </a:r>
        </a:p>
      </dgm:t>
    </dgm:pt>
    <dgm:pt modelId="{C38A0287-A1A6-4154-9322-18B6B15D2E5A}" type="parTrans" cxnId="{F4DAE8A3-50B8-4FDD-BF56-83DD4E3A7CC4}">
      <dgm:prSet/>
      <dgm:spPr/>
      <dgm:t>
        <a:bodyPr/>
        <a:lstStyle/>
        <a:p>
          <a:endParaRPr lang="en-US"/>
        </a:p>
      </dgm:t>
    </dgm:pt>
    <dgm:pt modelId="{69C3593D-9B83-43CF-9FDD-15E3A3825D03}" type="sibTrans" cxnId="{F4DAE8A3-50B8-4FDD-BF56-83DD4E3A7CC4}">
      <dgm:prSet/>
      <dgm:spPr/>
      <dgm:t>
        <a:bodyPr/>
        <a:lstStyle/>
        <a:p>
          <a:endParaRPr lang="en-US"/>
        </a:p>
      </dgm:t>
    </dgm:pt>
    <dgm:pt modelId="{C8883F04-FB04-4565-83D1-4741A025B939}">
      <dgm:prSet/>
      <dgm:spPr/>
      <dgm:t>
        <a:bodyPr/>
        <a:lstStyle/>
        <a:p>
          <a:r>
            <a:rPr lang="en-US" b="1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Thermal and structural simulation </a:t>
          </a:r>
        </a:p>
      </dgm:t>
    </dgm:pt>
    <dgm:pt modelId="{8BC87C95-F2BC-4EF4-A5EB-50CAAA3A5221}" type="parTrans" cxnId="{114A0F44-8BF0-4F53-8C99-C041FEDA8B67}">
      <dgm:prSet/>
      <dgm:spPr/>
      <dgm:t>
        <a:bodyPr/>
        <a:lstStyle/>
        <a:p>
          <a:endParaRPr lang="en-US"/>
        </a:p>
      </dgm:t>
    </dgm:pt>
    <dgm:pt modelId="{5E296A15-D990-4273-9651-E73DFCAEE50F}" type="sibTrans" cxnId="{114A0F44-8BF0-4F53-8C99-C041FEDA8B67}">
      <dgm:prSet/>
      <dgm:spPr/>
      <dgm:t>
        <a:bodyPr/>
        <a:lstStyle/>
        <a:p>
          <a:endParaRPr lang="en-US"/>
        </a:p>
      </dgm:t>
    </dgm:pt>
    <dgm:pt modelId="{15894FC8-8576-4AFD-82D0-42462C4C03BD}" type="pres">
      <dgm:prSet presAssocID="{0C008656-AA2D-4918-92BF-5C65344F66E8}" presName="linear" presStyleCnt="0">
        <dgm:presLayoutVars>
          <dgm:dir/>
          <dgm:resizeHandles val="exact"/>
        </dgm:presLayoutVars>
      </dgm:prSet>
      <dgm:spPr/>
    </dgm:pt>
    <dgm:pt modelId="{2BE003DA-87EC-4D1C-97AB-64A2E3321EB4}" type="pres">
      <dgm:prSet presAssocID="{2E6DFB6B-962D-4D0C-9B40-D28492BA1FFB}" presName="comp" presStyleCnt="0"/>
      <dgm:spPr/>
    </dgm:pt>
    <dgm:pt modelId="{B51876C3-7833-47ED-AE2C-E2C347D5A5EA}" type="pres">
      <dgm:prSet presAssocID="{2E6DFB6B-962D-4D0C-9B40-D28492BA1FFB}" presName="box" presStyleLbl="node1" presStyleIdx="0" presStyleCnt="3"/>
      <dgm:spPr/>
    </dgm:pt>
    <dgm:pt modelId="{9239EDC3-59B2-46AA-962C-8AC12E952FAD}" type="pres">
      <dgm:prSet presAssocID="{2E6DFB6B-962D-4D0C-9B40-D28492BA1FFB}" presName="img" presStyleLbl="fgImgPlace1" presStyleIdx="0" presStyleCnt="3"/>
      <dgm:spPr>
        <a:blipFill>
          <a:blip xmlns:r="http://schemas.openxmlformats.org/officeDocument/2006/relationships" r:embed="rId1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000" r="-19000"/>
          </a:stretch>
        </a:blipFill>
      </dgm:spPr>
    </dgm:pt>
    <dgm:pt modelId="{F6DF358B-3402-4614-882F-0633BA4F57E3}" type="pres">
      <dgm:prSet presAssocID="{2E6DFB6B-962D-4D0C-9B40-D28492BA1FFB}" presName="text" presStyleLbl="node1" presStyleIdx="0" presStyleCnt="3">
        <dgm:presLayoutVars>
          <dgm:bulletEnabled val="1"/>
        </dgm:presLayoutVars>
      </dgm:prSet>
      <dgm:spPr/>
    </dgm:pt>
    <dgm:pt modelId="{19BF6227-5E83-43AB-8848-55B45DA52DC7}" type="pres">
      <dgm:prSet presAssocID="{DAAAC0B1-778D-49E9-95AB-0EF97DE2E6DA}" presName="spacer" presStyleCnt="0"/>
      <dgm:spPr/>
    </dgm:pt>
    <dgm:pt modelId="{70F41BF2-5FA8-4F94-8732-7542DDA868F5}" type="pres">
      <dgm:prSet presAssocID="{3C8E5304-5098-45CB-A00A-0CC729E2BB31}" presName="comp" presStyleCnt="0"/>
      <dgm:spPr/>
    </dgm:pt>
    <dgm:pt modelId="{B271B49E-90A2-4F8A-B7C2-9966AAC519FD}" type="pres">
      <dgm:prSet presAssocID="{3C8E5304-5098-45CB-A00A-0CC729E2BB31}" presName="box" presStyleLbl="node1" presStyleIdx="1" presStyleCnt="3"/>
      <dgm:spPr/>
    </dgm:pt>
    <dgm:pt modelId="{86BCDFEE-699C-4834-9F3E-8349FE068DD6}" type="pres">
      <dgm:prSet presAssocID="{3C8E5304-5098-45CB-A00A-0CC729E2BB31}" presName="img" presStyleLbl="fgImgPlace1" presStyleIdx="1" presStyleCnt="3"/>
      <dgm:spPr>
        <a:blipFill rotWithShape="1">
          <a:blip xmlns:r="http://schemas.openxmlformats.org/officeDocument/2006/relationships" r:embed="rId2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</a:blip>
          <a:srcRect/>
          <a:stretch>
            <a:fillRect l="-35000" r="-35000"/>
          </a:stretch>
        </a:blipFill>
      </dgm:spPr>
    </dgm:pt>
    <dgm:pt modelId="{76A2FCFB-AFE5-4941-B2EC-A5161C2023C7}" type="pres">
      <dgm:prSet presAssocID="{3C8E5304-5098-45CB-A00A-0CC729E2BB31}" presName="text" presStyleLbl="node1" presStyleIdx="1" presStyleCnt="3">
        <dgm:presLayoutVars>
          <dgm:bulletEnabled val="1"/>
        </dgm:presLayoutVars>
      </dgm:prSet>
      <dgm:spPr/>
    </dgm:pt>
    <dgm:pt modelId="{9B6A1721-5230-4ADC-AAE4-EA771408A40F}" type="pres">
      <dgm:prSet presAssocID="{143B6960-47BD-4909-B2D1-10EF5E9B3ED3}" presName="spacer" presStyleCnt="0"/>
      <dgm:spPr/>
    </dgm:pt>
    <dgm:pt modelId="{26384B33-C7B2-4DA7-8620-D05E8CC18A6F}" type="pres">
      <dgm:prSet presAssocID="{E9DA8316-6068-46AA-8256-D70FC2209417}" presName="comp" presStyleCnt="0"/>
      <dgm:spPr/>
    </dgm:pt>
    <dgm:pt modelId="{0FBE335C-CED0-46B6-8678-CFA8C62E130E}" type="pres">
      <dgm:prSet presAssocID="{E9DA8316-6068-46AA-8256-D70FC2209417}" presName="box" presStyleLbl="node1" presStyleIdx="2" presStyleCnt="3"/>
      <dgm:spPr/>
    </dgm:pt>
    <dgm:pt modelId="{60486ED1-B1B2-4168-B56E-F71B529DE019}" type="pres">
      <dgm:prSet presAssocID="{E9DA8316-6068-46AA-8256-D70FC2209417}" presName="img" presStyleLbl="fgImgPlace1" presStyleIdx="2" presStyleCnt="3"/>
      <dgm:spPr>
        <a:blipFill rotWithShape="1">
          <a:blip xmlns:r="http://schemas.openxmlformats.org/officeDocument/2006/relationships" r:embed="rId2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</a:blip>
          <a:srcRect/>
          <a:stretch>
            <a:fillRect l="-35000" r="-35000"/>
          </a:stretch>
        </a:blipFill>
      </dgm:spPr>
    </dgm:pt>
    <dgm:pt modelId="{2C683746-B15F-4096-80EE-8BBCB75AE80B}" type="pres">
      <dgm:prSet presAssocID="{E9DA8316-6068-46AA-8256-D70FC2209417}" presName="text" presStyleLbl="node1" presStyleIdx="2" presStyleCnt="3">
        <dgm:presLayoutVars>
          <dgm:bulletEnabled val="1"/>
        </dgm:presLayoutVars>
      </dgm:prSet>
      <dgm:spPr/>
    </dgm:pt>
  </dgm:ptLst>
  <dgm:cxnLst>
    <dgm:cxn modelId="{7D269401-3125-4FC3-9192-57B223F482F3}" type="presOf" srcId="{C8883F04-FB04-4565-83D1-4741A025B939}" destId="{2C683746-B15F-4096-80EE-8BBCB75AE80B}" srcOrd="1" destOrd="3" presId="urn:microsoft.com/office/officeart/2005/8/layout/vList4"/>
    <dgm:cxn modelId="{42DAA501-F2CC-4B12-B55B-2E9DC4DCB1CE}" type="presOf" srcId="{A3790B79-AB77-4A96-8EC8-032A3D2F9BDB}" destId="{B271B49E-90A2-4F8A-B7C2-9966AAC519FD}" srcOrd="0" destOrd="4" presId="urn:microsoft.com/office/officeart/2005/8/layout/vList4"/>
    <dgm:cxn modelId="{77270006-A8D4-4C4B-B73E-7107E155DFC5}" type="presOf" srcId="{571844AC-5872-45D5-A108-FD7D641F4C1B}" destId="{0FBE335C-CED0-46B6-8678-CFA8C62E130E}" srcOrd="0" destOrd="2" presId="urn:microsoft.com/office/officeart/2005/8/layout/vList4"/>
    <dgm:cxn modelId="{8AD72007-A440-43E1-B222-E0BAE67118B1}" srcId="{0C008656-AA2D-4918-92BF-5C65344F66E8}" destId="{3C8E5304-5098-45CB-A00A-0CC729E2BB31}" srcOrd="1" destOrd="0" parTransId="{22DDC09B-82DB-4732-A1D1-C71B7132E34D}" sibTransId="{143B6960-47BD-4909-B2D1-10EF5E9B3ED3}"/>
    <dgm:cxn modelId="{90C16F20-F329-4D70-B2B9-0036C9A59C52}" type="presOf" srcId="{8F5C7070-AE5C-4B98-BFC4-64FE809B8320}" destId="{F6DF358B-3402-4614-882F-0633BA4F57E3}" srcOrd="1" destOrd="2" presId="urn:microsoft.com/office/officeart/2005/8/layout/vList4"/>
    <dgm:cxn modelId="{A8E3CF27-C9AE-4220-B3F9-C5607BFC55E2}" srcId="{2E6DFB6B-962D-4D0C-9B40-D28492BA1FFB}" destId="{8F5C7070-AE5C-4B98-BFC4-64FE809B8320}" srcOrd="1" destOrd="0" parTransId="{F48558D7-EC6C-4BE3-B29F-FA9B32402229}" sibTransId="{A9ECF8A9-8D5C-4B3E-9D7F-E7D4E6ED7961}"/>
    <dgm:cxn modelId="{2A59162F-E766-4699-8024-15C9AC82A0B7}" srcId="{2E6DFB6B-962D-4D0C-9B40-D28492BA1FFB}" destId="{06E75529-3E1A-42E9-A02D-B2156D3E9084}" srcOrd="3" destOrd="0" parTransId="{F35B9320-E17D-4225-A2C5-FD57A22C40BA}" sibTransId="{D28B3FDF-A6E8-47E8-9AA0-F19F0C2707CC}"/>
    <dgm:cxn modelId="{A69EAD36-35F1-4B8A-BFC7-F9D5BE1260CD}" srcId="{0C008656-AA2D-4918-92BF-5C65344F66E8}" destId="{2E6DFB6B-962D-4D0C-9B40-D28492BA1FFB}" srcOrd="0" destOrd="0" parTransId="{544672B8-88CF-4CBE-A39C-BE1683BD48E9}" sibTransId="{DAAAC0B1-778D-49E9-95AB-0EF97DE2E6DA}"/>
    <dgm:cxn modelId="{18206D3F-31F5-4585-8E09-BCB103201C5F}" type="presOf" srcId="{AC9E4AEC-83F2-47D7-A0AC-75ED56E0F0E3}" destId="{F6DF358B-3402-4614-882F-0633BA4F57E3}" srcOrd="1" destOrd="1" presId="urn:microsoft.com/office/officeart/2005/8/layout/vList4"/>
    <dgm:cxn modelId="{F39B8060-43B3-4A8A-B3CB-F71464D058E2}" type="presOf" srcId="{0C0812CD-D228-4B74-BAFC-F194AA1FD657}" destId="{0FBE335C-CED0-46B6-8678-CFA8C62E130E}" srcOrd="0" destOrd="1" presId="urn:microsoft.com/office/officeart/2005/8/layout/vList4"/>
    <dgm:cxn modelId="{B42D0243-291D-4FE2-A534-5C1435729B2B}" type="presOf" srcId="{A3790B79-AB77-4A96-8EC8-032A3D2F9BDB}" destId="{76A2FCFB-AFE5-4941-B2EC-A5161C2023C7}" srcOrd="1" destOrd="4" presId="urn:microsoft.com/office/officeart/2005/8/layout/vList4"/>
    <dgm:cxn modelId="{798B4443-2795-4686-AE38-E421FC46F5C9}" type="presOf" srcId="{AC9E4AEC-83F2-47D7-A0AC-75ED56E0F0E3}" destId="{B51876C3-7833-47ED-AE2C-E2C347D5A5EA}" srcOrd="0" destOrd="1" presId="urn:microsoft.com/office/officeart/2005/8/layout/vList4"/>
    <dgm:cxn modelId="{04E4CB63-E6AF-4BF5-BB90-2C40CCA03B62}" srcId="{3C8E5304-5098-45CB-A00A-0CC729E2BB31}" destId="{A3790B79-AB77-4A96-8EC8-032A3D2F9BDB}" srcOrd="3" destOrd="0" parTransId="{BA53FF3C-4A1F-4449-B910-7F2FE9EB14A2}" sibTransId="{648EF17D-EDEE-4A2D-BC69-6451AD55B3C0}"/>
    <dgm:cxn modelId="{114A0F44-8BF0-4F53-8C99-C041FEDA8B67}" srcId="{E9DA8316-6068-46AA-8256-D70FC2209417}" destId="{C8883F04-FB04-4565-83D1-4741A025B939}" srcOrd="2" destOrd="0" parTransId="{8BC87C95-F2BC-4EF4-A5EB-50CAAA3A5221}" sibTransId="{5E296A15-D990-4273-9651-E73DFCAEE50F}"/>
    <dgm:cxn modelId="{8CD9A764-A76A-4CD8-AB1A-167685167F75}" type="presOf" srcId="{B24E7B37-B455-422E-BF2E-44BF49459256}" destId="{76A2FCFB-AFE5-4941-B2EC-A5161C2023C7}" srcOrd="1" destOrd="1" presId="urn:microsoft.com/office/officeart/2005/8/layout/vList4"/>
    <dgm:cxn modelId="{39D82845-53EC-4FBF-BEF1-B58B815B6B23}" type="presOf" srcId="{E9DA8316-6068-46AA-8256-D70FC2209417}" destId="{2C683746-B15F-4096-80EE-8BBCB75AE80B}" srcOrd="1" destOrd="0" presId="urn:microsoft.com/office/officeart/2005/8/layout/vList4"/>
    <dgm:cxn modelId="{4B7B6D66-75ED-44BE-9E46-00AD5B53488E}" type="presOf" srcId="{C8D58DBE-9AFF-4C45-AD10-800FA67F33B8}" destId="{B271B49E-90A2-4F8A-B7C2-9966AAC519FD}" srcOrd="0" destOrd="2" presId="urn:microsoft.com/office/officeart/2005/8/layout/vList4"/>
    <dgm:cxn modelId="{523F1A48-947D-4F86-8794-675C3D651D97}" type="presOf" srcId="{7E790887-16EE-4492-83C8-92D6963AFD67}" destId="{B51876C3-7833-47ED-AE2C-E2C347D5A5EA}" srcOrd="0" destOrd="3" presId="urn:microsoft.com/office/officeart/2005/8/layout/vList4"/>
    <dgm:cxn modelId="{C6EF8C73-9CBE-41EA-8492-6D6EA2040592}" type="presOf" srcId="{614F6D96-4AE5-4CC1-8A7C-72C7E92D576C}" destId="{B271B49E-90A2-4F8A-B7C2-9966AAC519FD}" srcOrd="0" destOrd="3" presId="urn:microsoft.com/office/officeart/2005/8/layout/vList4"/>
    <dgm:cxn modelId="{7AF3B274-B848-43B1-BACD-122533F90C41}" type="presOf" srcId="{3C8E5304-5098-45CB-A00A-0CC729E2BB31}" destId="{76A2FCFB-AFE5-4941-B2EC-A5161C2023C7}" srcOrd="1" destOrd="0" presId="urn:microsoft.com/office/officeart/2005/8/layout/vList4"/>
    <dgm:cxn modelId="{E0289178-C1A1-41A8-99BD-7787EE2DFB39}" type="presOf" srcId="{C8883F04-FB04-4565-83D1-4741A025B939}" destId="{0FBE335C-CED0-46B6-8678-CFA8C62E130E}" srcOrd="0" destOrd="3" presId="urn:microsoft.com/office/officeart/2005/8/layout/vList4"/>
    <dgm:cxn modelId="{8F27085A-0D49-4818-B958-DAC63D859AB6}" srcId="{3C8E5304-5098-45CB-A00A-0CC729E2BB31}" destId="{B24E7B37-B455-422E-BF2E-44BF49459256}" srcOrd="0" destOrd="0" parTransId="{653E447A-AF4D-4760-B912-3F89FE6A86A8}" sibTransId="{3A2F0788-6582-4497-99EB-108C51F1A8C1}"/>
    <dgm:cxn modelId="{ADE76D7B-0CED-4217-B176-E62B92D00D09}" type="presOf" srcId="{C8D58DBE-9AFF-4C45-AD10-800FA67F33B8}" destId="{76A2FCFB-AFE5-4941-B2EC-A5161C2023C7}" srcOrd="1" destOrd="2" presId="urn:microsoft.com/office/officeart/2005/8/layout/vList4"/>
    <dgm:cxn modelId="{B8571582-3108-4BF9-83E1-2A999378F62D}" type="presOf" srcId="{571844AC-5872-45D5-A108-FD7D641F4C1B}" destId="{2C683746-B15F-4096-80EE-8BBCB75AE80B}" srcOrd="1" destOrd="2" presId="urn:microsoft.com/office/officeart/2005/8/layout/vList4"/>
    <dgm:cxn modelId="{53512697-882F-456A-A087-9B52036DFCD2}" type="presOf" srcId="{B24E7B37-B455-422E-BF2E-44BF49459256}" destId="{B271B49E-90A2-4F8A-B7C2-9966AAC519FD}" srcOrd="0" destOrd="1" presId="urn:microsoft.com/office/officeart/2005/8/layout/vList4"/>
    <dgm:cxn modelId="{F4DAE8A3-50B8-4FDD-BF56-83DD4E3A7CC4}" srcId="{E9DA8316-6068-46AA-8256-D70FC2209417}" destId="{571844AC-5872-45D5-A108-FD7D641F4C1B}" srcOrd="1" destOrd="0" parTransId="{C38A0287-A1A6-4154-9322-18B6B15D2E5A}" sibTransId="{69C3593D-9B83-43CF-9FDD-15E3A3825D03}"/>
    <dgm:cxn modelId="{44C08DA4-886E-4D85-B14B-9670A5BB35E0}" srcId="{2E6DFB6B-962D-4D0C-9B40-D28492BA1FFB}" destId="{AC9E4AEC-83F2-47D7-A0AC-75ED56E0F0E3}" srcOrd="0" destOrd="0" parTransId="{C4D212CB-3DFC-44EC-BB14-D504AE4D756B}" sibTransId="{5D32E3B6-9DB6-4E90-96E8-3B1481270B5F}"/>
    <dgm:cxn modelId="{47882CA9-BE6C-4F8B-8C0B-A10F374CACDF}" srcId="{E9DA8316-6068-46AA-8256-D70FC2209417}" destId="{0C0812CD-D228-4B74-BAFC-F194AA1FD657}" srcOrd="0" destOrd="0" parTransId="{085F5005-6351-41B7-8F6B-D780E01A5A7F}" sibTransId="{12B680E8-11AD-4D57-AD92-59A656B5ECDA}"/>
    <dgm:cxn modelId="{488E86B4-C8F7-4DA1-B62C-68030F4D356F}" type="presOf" srcId="{3C8E5304-5098-45CB-A00A-0CC729E2BB31}" destId="{B271B49E-90A2-4F8A-B7C2-9966AAC519FD}" srcOrd="0" destOrd="0" presId="urn:microsoft.com/office/officeart/2005/8/layout/vList4"/>
    <dgm:cxn modelId="{E837DBB8-4A27-4778-A680-753F5D4989CB}" type="presOf" srcId="{2E6DFB6B-962D-4D0C-9B40-D28492BA1FFB}" destId="{B51876C3-7833-47ED-AE2C-E2C347D5A5EA}" srcOrd="0" destOrd="0" presId="urn:microsoft.com/office/officeart/2005/8/layout/vList4"/>
    <dgm:cxn modelId="{6D67C9C1-4EF4-4EA7-A3A6-4C9F0160F11C}" type="presOf" srcId="{8F5C7070-AE5C-4B98-BFC4-64FE809B8320}" destId="{B51876C3-7833-47ED-AE2C-E2C347D5A5EA}" srcOrd="0" destOrd="2" presId="urn:microsoft.com/office/officeart/2005/8/layout/vList4"/>
    <dgm:cxn modelId="{0887F3C3-12C3-437A-9FD5-9D9E2BF4EF6C}" type="presOf" srcId="{06E75529-3E1A-42E9-A02D-B2156D3E9084}" destId="{F6DF358B-3402-4614-882F-0633BA4F57E3}" srcOrd="1" destOrd="4" presId="urn:microsoft.com/office/officeart/2005/8/layout/vList4"/>
    <dgm:cxn modelId="{10BA9BC4-7DDE-491E-90FE-4789172B2386}" srcId="{0C008656-AA2D-4918-92BF-5C65344F66E8}" destId="{E9DA8316-6068-46AA-8256-D70FC2209417}" srcOrd="2" destOrd="0" parTransId="{432A1DBB-5A7B-4EA4-ADBF-E578D05AE478}" sibTransId="{5CA1BA02-AA5B-4861-A15D-2C30E49537BA}"/>
    <dgm:cxn modelId="{79F199C5-D397-47D1-9AD9-C00FFFA8549B}" type="presOf" srcId="{7E790887-16EE-4492-83C8-92D6963AFD67}" destId="{F6DF358B-3402-4614-882F-0633BA4F57E3}" srcOrd="1" destOrd="3" presId="urn:microsoft.com/office/officeart/2005/8/layout/vList4"/>
    <dgm:cxn modelId="{5026BCC6-172B-4271-B4C3-BA3A79B7ABB4}" type="presOf" srcId="{0C0812CD-D228-4B74-BAFC-F194AA1FD657}" destId="{2C683746-B15F-4096-80EE-8BBCB75AE80B}" srcOrd="1" destOrd="1" presId="urn:microsoft.com/office/officeart/2005/8/layout/vList4"/>
    <dgm:cxn modelId="{517B64D1-1DF4-410C-B7F8-EA5F55C929F4}" srcId="{3C8E5304-5098-45CB-A00A-0CC729E2BB31}" destId="{614F6D96-4AE5-4CC1-8A7C-72C7E92D576C}" srcOrd="2" destOrd="0" parTransId="{782DA819-2AA4-4D05-838D-262EC26B26B9}" sibTransId="{E5F3018A-E4A5-4FEA-89BC-297B8CCF69AA}"/>
    <dgm:cxn modelId="{1E945CD3-19A5-4166-9F89-08769D60674A}" type="presOf" srcId="{614F6D96-4AE5-4CC1-8A7C-72C7E92D576C}" destId="{76A2FCFB-AFE5-4941-B2EC-A5161C2023C7}" srcOrd="1" destOrd="3" presId="urn:microsoft.com/office/officeart/2005/8/layout/vList4"/>
    <dgm:cxn modelId="{E60DADD8-3834-4A56-A55B-38381B831B70}" type="presOf" srcId="{06E75529-3E1A-42E9-A02D-B2156D3E9084}" destId="{B51876C3-7833-47ED-AE2C-E2C347D5A5EA}" srcOrd="0" destOrd="4" presId="urn:microsoft.com/office/officeart/2005/8/layout/vList4"/>
    <dgm:cxn modelId="{8B79D5DF-1F1C-47EE-9148-85EDE67DFD48}" srcId="{3C8E5304-5098-45CB-A00A-0CC729E2BB31}" destId="{C8D58DBE-9AFF-4C45-AD10-800FA67F33B8}" srcOrd="1" destOrd="0" parTransId="{D97AEC64-20B9-4BE6-AAD6-BF5D581B245F}" sibTransId="{D23961BD-E391-404B-892D-5B10F2DEB938}"/>
    <dgm:cxn modelId="{29D47FEE-A2A1-4BE0-BC49-E6C59DEDC14A}" srcId="{2E6DFB6B-962D-4D0C-9B40-D28492BA1FFB}" destId="{7E790887-16EE-4492-83C8-92D6963AFD67}" srcOrd="2" destOrd="0" parTransId="{B11E87E9-3D63-4CEE-91A1-B5B565877B25}" sibTransId="{A167A97E-5A74-46C7-9D29-5378B828862D}"/>
    <dgm:cxn modelId="{186015F2-8B99-4E9C-8A7D-0861D482D8B6}" type="presOf" srcId="{E9DA8316-6068-46AA-8256-D70FC2209417}" destId="{0FBE335C-CED0-46B6-8678-CFA8C62E130E}" srcOrd="0" destOrd="0" presId="urn:microsoft.com/office/officeart/2005/8/layout/vList4"/>
    <dgm:cxn modelId="{BE4D43F4-98AF-4275-B599-A37EBD911CB8}" type="presOf" srcId="{0C008656-AA2D-4918-92BF-5C65344F66E8}" destId="{15894FC8-8576-4AFD-82D0-42462C4C03BD}" srcOrd="0" destOrd="0" presId="urn:microsoft.com/office/officeart/2005/8/layout/vList4"/>
    <dgm:cxn modelId="{92A839FD-646F-4AFF-BC62-5AEB84585653}" type="presOf" srcId="{2E6DFB6B-962D-4D0C-9B40-D28492BA1FFB}" destId="{F6DF358B-3402-4614-882F-0633BA4F57E3}" srcOrd="1" destOrd="0" presId="urn:microsoft.com/office/officeart/2005/8/layout/vList4"/>
    <dgm:cxn modelId="{D694ED2B-2C15-45AF-B94F-0EF347A6F23B}" type="presParOf" srcId="{15894FC8-8576-4AFD-82D0-42462C4C03BD}" destId="{2BE003DA-87EC-4D1C-97AB-64A2E3321EB4}" srcOrd="0" destOrd="0" presId="urn:microsoft.com/office/officeart/2005/8/layout/vList4"/>
    <dgm:cxn modelId="{59F64950-E32F-4B75-94FF-DD5CBF924846}" type="presParOf" srcId="{2BE003DA-87EC-4D1C-97AB-64A2E3321EB4}" destId="{B51876C3-7833-47ED-AE2C-E2C347D5A5EA}" srcOrd="0" destOrd="0" presId="urn:microsoft.com/office/officeart/2005/8/layout/vList4"/>
    <dgm:cxn modelId="{5E325BE9-2EA7-47A3-A4A8-EA15D6DB1510}" type="presParOf" srcId="{2BE003DA-87EC-4D1C-97AB-64A2E3321EB4}" destId="{9239EDC3-59B2-46AA-962C-8AC12E952FAD}" srcOrd="1" destOrd="0" presId="urn:microsoft.com/office/officeart/2005/8/layout/vList4"/>
    <dgm:cxn modelId="{A4B1BFB5-BBDE-4471-858D-CFC0D38BCB17}" type="presParOf" srcId="{2BE003DA-87EC-4D1C-97AB-64A2E3321EB4}" destId="{F6DF358B-3402-4614-882F-0633BA4F57E3}" srcOrd="2" destOrd="0" presId="urn:microsoft.com/office/officeart/2005/8/layout/vList4"/>
    <dgm:cxn modelId="{A0F1D90E-03F6-4305-9015-6ABFE3A17BF2}" type="presParOf" srcId="{15894FC8-8576-4AFD-82D0-42462C4C03BD}" destId="{19BF6227-5E83-43AB-8848-55B45DA52DC7}" srcOrd="1" destOrd="0" presId="urn:microsoft.com/office/officeart/2005/8/layout/vList4"/>
    <dgm:cxn modelId="{A85C913A-3DEC-44E9-8B9A-0AD544461269}" type="presParOf" srcId="{15894FC8-8576-4AFD-82D0-42462C4C03BD}" destId="{70F41BF2-5FA8-4F94-8732-7542DDA868F5}" srcOrd="2" destOrd="0" presId="urn:microsoft.com/office/officeart/2005/8/layout/vList4"/>
    <dgm:cxn modelId="{F66EC41B-7E4D-4D24-AE8A-F406313DDD7E}" type="presParOf" srcId="{70F41BF2-5FA8-4F94-8732-7542DDA868F5}" destId="{B271B49E-90A2-4F8A-B7C2-9966AAC519FD}" srcOrd="0" destOrd="0" presId="urn:microsoft.com/office/officeart/2005/8/layout/vList4"/>
    <dgm:cxn modelId="{FE56F4E2-0338-45CF-9E09-CA189AF7CC0A}" type="presParOf" srcId="{70F41BF2-5FA8-4F94-8732-7542DDA868F5}" destId="{86BCDFEE-699C-4834-9F3E-8349FE068DD6}" srcOrd="1" destOrd="0" presId="urn:microsoft.com/office/officeart/2005/8/layout/vList4"/>
    <dgm:cxn modelId="{AC13B38C-D2AD-4F59-9D90-9E5126F3296B}" type="presParOf" srcId="{70F41BF2-5FA8-4F94-8732-7542DDA868F5}" destId="{76A2FCFB-AFE5-4941-B2EC-A5161C2023C7}" srcOrd="2" destOrd="0" presId="urn:microsoft.com/office/officeart/2005/8/layout/vList4"/>
    <dgm:cxn modelId="{510B01E0-3D4C-4E6C-A3A2-BD9E3DB41384}" type="presParOf" srcId="{15894FC8-8576-4AFD-82D0-42462C4C03BD}" destId="{9B6A1721-5230-4ADC-AAE4-EA771408A40F}" srcOrd="3" destOrd="0" presId="urn:microsoft.com/office/officeart/2005/8/layout/vList4"/>
    <dgm:cxn modelId="{13F4FD31-1ED7-49EA-B38A-8E8C5B631D8C}" type="presParOf" srcId="{15894FC8-8576-4AFD-82D0-42462C4C03BD}" destId="{26384B33-C7B2-4DA7-8620-D05E8CC18A6F}" srcOrd="4" destOrd="0" presId="urn:microsoft.com/office/officeart/2005/8/layout/vList4"/>
    <dgm:cxn modelId="{3FAB383E-6100-47F8-93D4-CB8ABAD4F502}" type="presParOf" srcId="{26384B33-C7B2-4DA7-8620-D05E8CC18A6F}" destId="{0FBE335C-CED0-46B6-8678-CFA8C62E130E}" srcOrd="0" destOrd="0" presId="urn:microsoft.com/office/officeart/2005/8/layout/vList4"/>
    <dgm:cxn modelId="{CB57A357-153C-4A22-B2A7-CC6B6AE37FE2}" type="presParOf" srcId="{26384B33-C7B2-4DA7-8620-D05E8CC18A6F}" destId="{60486ED1-B1B2-4168-B56E-F71B529DE019}" srcOrd="1" destOrd="0" presId="urn:microsoft.com/office/officeart/2005/8/layout/vList4"/>
    <dgm:cxn modelId="{8183136D-D4F0-45C3-8455-1D0768462C11}" type="presParOf" srcId="{26384B33-C7B2-4DA7-8620-D05E8CC18A6F}" destId="{2C683746-B15F-4096-80EE-8BBCB75AE80B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008656-AA2D-4918-92BF-5C65344F66E8}" type="doc">
      <dgm:prSet loTypeId="urn:microsoft.com/office/officeart/2005/8/layout/vList4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3964C421-8916-44D1-8C88-B5690154FD78}">
      <dgm:prSet phldrT="[Text]"/>
      <dgm:spPr/>
      <dgm:t>
        <a:bodyPr/>
        <a:lstStyle/>
        <a:p>
          <a:r>
            <a:rPr lang="en-US"/>
            <a:t>Software Development</a:t>
          </a:r>
        </a:p>
      </dgm:t>
    </dgm:pt>
    <dgm:pt modelId="{FA3EBD88-0261-45CE-882E-587686C9FBDC}" type="parTrans" cxnId="{05FC113B-B2DD-4B59-9757-24F271296BDB}">
      <dgm:prSet/>
      <dgm:spPr/>
      <dgm:t>
        <a:bodyPr/>
        <a:lstStyle/>
        <a:p>
          <a:endParaRPr lang="en-US"/>
        </a:p>
      </dgm:t>
    </dgm:pt>
    <dgm:pt modelId="{C4973E41-A854-454D-8922-5740CAC859FD}" type="sibTrans" cxnId="{05FC113B-B2DD-4B59-9757-24F271296BDB}">
      <dgm:prSet/>
      <dgm:spPr/>
      <dgm:t>
        <a:bodyPr/>
        <a:lstStyle/>
        <a:p>
          <a:endParaRPr lang="en-US"/>
        </a:p>
      </dgm:t>
    </dgm:pt>
    <dgm:pt modelId="{10072581-1C57-45C9-AE60-541CE3FA265F}">
      <dgm:prSet phldrT="[Text]"/>
      <dgm:spPr/>
      <dgm:t>
        <a:bodyPr/>
        <a:lstStyle/>
        <a:p>
          <a:r>
            <a:rPr lang="en-US"/>
            <a:t>System Engineering</a:t>
          </a:r>
        </a:p>
      </dgm:t>
    </dgm:pt>
    <dgm:pt modelId="{4F5CE7B2-5100-47BE-BF47-8E26CEC1D0ED}" type="parTrans" cxnId="{1D39205C-698A-413C-81EB-9FF3F2464250}">
      <dgm:prSet/>
      <dgm:spPr/>
      <dgm:t>
        <a:bodyPr/>
        <a:lstStyle/>
        <a:p>
          <a:endParaRPr lang="en-US"/>
        </a:p>
      </dgm:t>
    </dgm:pt>
    <dgm:pt modelId="{28AE162C-223A-4CDE-9784-239917F8FB95}" type="sibTrans" cxnId="{1D39205C-698A-413C-81EB-9FF3F2464250}">
      <dgm:prSet/>
      <dgm:spPr/>
      <dgm:t>
        <a:bodyPr/>
        <a:lstStyle/>
        <a:p>
          <a:endParaRPr lang="en-US"/>
        </a:p>
      </dgm:t>
    </dgm:pt>
    <dgm:pt modelId="{6F8A0337-936C-42A2-AB7C-CA907A7B2058}">
      <dgm:prSet phldrT="[Text]"/>
      <dgm:spPr/>
      <dgm:t>
        <a:bodyPr/>
        <a:lstStyle/>
        <a:p>
          <a:r>
            <a:rPr lang="en-US"/>
            <a:t>System Test Engineering</a:t>
          </a:r>
        </a:p>
      </dgm:t>
    </dgm:pt>
    <dgm:pt modelId="{F4C5F056-3D0F-4E04-82BB-25BB7DC4FC4D}" type="parTrans" cxnId="{3F2F7D86-0D33-4018-9BBA-1662DDD8C6C5}">
      <dgm:prSet/>
      <dgm:spPr/>
      <dgm:t>
        <a:bodyPr/>
        <a:lstStyle/>
        <a:p>
          <a:endParaRPr lang="en-US"/>
        </a:p>
      </dgm:t>
    </dgm:pt>
    <dgm:pt modelId="{2F332A89-D169-488F-AAEC-63A0ACA5F9CA}" type="sibTrans" cxnId="{3F2F7D86-0D33-4018-9BBA-1662DDD8C6C5}">
      <dgm:prSet/>
      <dgm:spPr/>
      <dgm:t>
        <a:bodyPr/>
        <a:lstStyle/>
        <a:p>
          <a:endParaRPr lang="en-US"/>
        </a:p>
      </dgm:t>
    </dgm:pt>
    <dgm:pt modelId="{7BDD225E-826F-4C1F-B873-CF6A6C99F5A0}">
      <dgm:prSet phldrT="[Text]"/>
      <dgm:spPr/>
      <dgm:t>
        <a:bodyPr/>
        <a:lstStyle/>
        <a:p>
          <a:pPr>
            <a:buFontTx/>
            <a:buChar char="••"/>
          </a:pPr>
          <a:r>
            <a:rPr lang="en-US" b="1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Test automation</a:t>
          </a:r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 in Python and other scripting solutions</a:t>
          </a:r>
          <a:endParaRPr lang="en-US"/>
        </a:p>
      </dgm:t>
    </dgm:pt>
    <dgm:pt modelId="{EFDA8988-25B9-4025-B38C-F31766636F58}" type="parTrans" cxnId="{5E005175-0EF8-4134-81D3-6D9C117BA66E}">
      <dgm:prSet/>
      <dgm:spPr/>
      <dgm:t>
        <a:bodyPr/>
        <a:lstStyle/>
        <a:p>
          <a:endParaRPr lang="en-US"/>
        </a:p>
      </dgm:t>
    </dgm:pt>
    <dgm:pt modelId="{AAA82CE0-F2A8-49C4-8DEF-D9B2DA2FBBD5}" type="sibTrans" cxnId="{5E005175-0EF8-4134-81D3-6D9C117BA66E}">
      <dgm:prSet/>
      <dgm:spPr/>
      <dgm:t>
        <a:bodyPr/>
        <a:lstStyle/>
        <a:p>
          <a:endParaRPr lang="en-US"/>
        </a:p>
      </dgm:t>
    </dgm:pt>
    <dgm:pt modelId="{9371B788-5FF3-42FE-BB6C-6E220E6D140B}">
      <dgm:prSet phldrT="[Text]"/>
      <dgm:spPr/>
      <dgm:t>
        <a:bodyPr/>
        <a:lstStyle/>
        <a:p>
          <a:pPr>
            <a:buFontTx/>
            <a:buChar char="••"/>
          </a:pPr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Requirement Engineering</a:t>
          </a:r>
          <a:endParaRPr lang="en-US"/>
        </a:p>
      </dgm:t>
    </dgm:pt>
    <dgm:pt modelId="{383C3904-C61E-49CB-8A54-63AB6C199F49}" type="parTrans" cxnId="{A5A25E7F-99A1-4F43-AC78-392D6ED3266E}">
      <dgm:prSet/>
      <dgm:spPr/>
      <dgm:t>
        <a:bodyPr/>
        <a:lstStyle/>
        <a:p>
          <a:endParaRPr lang="en-US"/>
        </a:p>
      </dgm:t>
    </dgm:pt>
    <dgm:pt modelId="{3EC767BD-7368-44CF-955D-A0B74E6E8CC8}" type="sibTrans" cxnId="{A5A25E7F-99A1-4F43-AC78-392D6ED3266E}">
      <dgm:prSet/>
      <dgm:spPr/>
      <dgm:t>
        <a:bodyPr/>
        <a:lstStyle/>
        <a:p>
          <a:endParaRPr lang="en-US"/>
        </a:p>
      </dgm:t>
    </dgm:pt>
    <dgm:pt modelId="{2FCB4A8F-5EFD-4B3A-8C37-8315A5E733E7}">
      <dgm:prSet phldrT="[Text]"/>
      <dgm:spPr/>
      <dgm:t>
        <a:bodyPr/>
        <a:lstStyle/>
        <a:p>
          <a:pPr>
            <a:buFontTx/>
            <a:buChar char="••"/>
          </a:pPr>
          <a:r>
            <a:rPr lang="en-US" b="1"/>
            <a:t>Application development</a:t>
          </a:r>
          <a:endParaRPr lang="en-US"/>
        </a:p>
      </dgm:t>
    </dgm:pt>
    <dgm:pt modelId="{DF8E2F33-A1BC-4DA1-BD07-928A6DB2B7C4}" type="parTrans" cxnId="{EFF9F5F9-489C-4BD1-8F9E-EC23E40C2D58}">
      <dgm:prSet/>
      <dgm:spPr/>
      <dgm:t>
        <a:bodyPr/>
        <a:lstStyle/>
        <a:p>
          <a:endParaRPr lang="en-US"/>
        </a:p>
      </dgm:t>
    </dgm:pt>
    <dgm:pt modelId="{45EABDCE-207C-490E-8177-0C0896C5BF8C}" type="sibTrans" cxnId="{EFF9F5F9-489C-4BD1-8F9E-EC23E40C2D58}">
      <dgm:prSet/>
      <dgm:spPr/>
      <dgm:t>
        <a:bodyPr/>
        <a:lstStyle/>
        <a:p>
          <a:endParaRPr lang="en-US"/>
        </a:p>
      </dgm:t>
    </dgm:pt>
    <dgm:pt modelId="{40475391-0546-4FA1-8DFE-DCA93662E5B9}">
      <dgm:prSet/>
      <dgm:spPr/>
      <dgm:t>
        <a:bodyPr/>
        <a:lstStyle/>
        <a:p>
          <a:r>
            <a:rPr lang="en-US" b="1"/>
            <a:t>Generic development &amp; integration for Lights function</a:t>
          </a:r>
        </a:p>
      </dgm:t>
    </dgm:pt>
    <dgm:pt modelId="{4E6978DD-B374-4835-BCB2-4847FE8F2E94}" type="parTrans" cxnId="{241A0EB3-6D81-4200-BE33-8AFBA3F075F0}">
      <dgm:prSet/>
      <dgm:spPr/>
      <dgm:t>
        <a:bodyPr/>
        <a:lstStyle/>
        <a:p>
          <a:endParaRPr lang="en-US"/>
        </a:p>
      </dgm:t>
    </dgm:pt>
    <dgm:pt modelId="{BBFF794B-D490-4EF6-BA97-51D18CC8EF32}" type="sibTrans" cxnId="{241A0EB3-6D81-4200-BE33-8AFBA3F075F0}">
      <dgm:prSet/>
      <dgm:spPr/>
      <dgm:t>
        <a:bodyPr/>
        <a:lstStyle/>
        <a:p>
          <a:endParaRPr lang="en-US"/>
        </a:p>
      </dgm:t>
    </dgm:pt>
    <dgm:pt modelId="{23D9B5C8-550E-4B85-BA5D-3D937A039330}">
      <dgm:prSet/>
      <dgm:spPr/>
      <dgm:t>
        <a:bodyPr/>
        <a:lstStyle/>
        <a:p>
          <a:r>
            <a:rPr lang="en-US"/>
            <a:t>Full range of </a:t>
          </a:r>
          <a:r>
            <a:rPr lang="en-US" b="1"/>
            <a:t>diagnostic</a:t>
          </a:r>
          <a:r>
            <a:rPr lang="en-US"/>
            <a:t> based on UDS (jobs &amp; tools)</a:t>
          </a:r>
        </a:p>
      </dgm:t>
    </dgm:pt>
    <dgm:pt modelId="{009EBA56-4064-4B91-BD60-1AFF865263E7}" type="parTrans" cxnId="{D9FCEEDA-1CF3-419E-8F28-1864D9057490}">
      <dgm:prSet/>
      <dgm:spPr/>
      <dgm:t>
        <a:bodyPr/>
        <a:lstStyle/>
        <a:p>
          <a:endParaRPr lang="en-US"/>
        </a:p>
      </dgm:t>
    </dgm:pt>
    <dgm:pt modelId="{DA4AEE60-EF85-4567-B09D-B2CB06636ADC}" type="sibTrans" cxnId="{D9FCEEDA-1CF3-419E-8F28-1864D9057490}">
      <dgm:prSet/>
      <dgm:spPr/>
      <dgm:t>
        <a:bodyPr/>
        <a:lstStyle/>
        <a:p>
          <a:endParaRPr lang="en-US"/>
        </a:p>
      </dgm:t>
    </dgm:pt>
    <dgm:pt modelId="{B86C0B0F-FC21-4B4C-B22B-9E20DC591C41}">
      <dgm:prSet/>
      <dgm:spPr/>
      <dgm:t>
        <a:bodyPr/>
        <a:lstStyle/>
        <a:p>
          <a:r>
            <a:rPr lang="en-US"/>
            <a:t>Project development based </a:t>
          </a:r>
          <a:r>
            <a:rPr lang="en-US" b="1"/>
            <a:t>AUTOSAR</a:t>
          </a:r>
          <a:r>
            <a:rPr lang="en-US"/>
            <a:t> 4.x platforms</a:t>
          </a:r>
        </a:p>
      </dgm:t>
    </dgm:pt>
    <dgm:pt modelId="{842DAEF6-A27D-47E2-8978-4F9CF701AAA3}" type="parTrans" cxnId="{A074ADDD-80F7-412E-A1C1-BAEEB2D629CC}">
      <dgm:prSet/>
      <dgm:spPr/>
      <dgm:t>
        <a:bodyPr/>
        <a:lstStyle/>
        <a:p>
          <a:endParaRPr lang="en-US"/>
        </a:p>
      </dgm:t>
    </dgm:pt>
    <dgm:pt modelId="{F2D69DD4-F342-421D-9A2E-056A5FBA3BCE}" type="sibTrans" cxnId="{A074ADDD-80F7-412E-A1C1-BAEEB2D629CC}">
      <dgm:prSet/>
      <dgm:spPr/>
      <dgm:t>
        <a:bodyPr/>
        <a:lstStyle/>
        <a:p>
          <a:endParaRPr lang="en-US"/>
        </a:p>
      </dgm:t>
    </dgm:pt>
    <dgm:pt modelId="{E30D33C3-7840-4F55-B373-8A11C2FCFC33}">
      <dgm:prSet/>
      <dgm:spPr/>
      <dgm:t>
        <a:bodyPr/>
        <a:lstStyle/>
        <a:p>
          <a:r>
            <a:rPr lang="en-US" b="1"/>
            <a:t>Integration</a:t>
          </a:r>
          <a:r>
            <a:rPr lang="en-US"/>
            <a:t> of various </a:t>
          </a:r>
          <a:r>
            <a:rPr lang="en-US" b="1"/>
            <a:t>3</a:t>
          </a:r>
          <a:r>
            <a:rPr lang="en-US" b="1" baseline="30000"/>
            <a:t>rd</a:t>
          </a:r>
          <a:r>
            <a:rPr lang="en-US" b="1"/>
            <a:t> party software</a:t>
          </a:r>
          <a:r>
            <a:rPr lang="en-US"/>
            <a:t> (e.g. drivers, libs)</a:t>
          </a:r>
          <a:endParaRPr lang="en-US" b="1"/>
        </a:p>
      </dgm:t>
    </dgm:pt>
    <dgm:pt modelId="{E2B0ABA3-FA21-47E2-B540-92A3ADBEADB5}" type="parTrans" cxnId="{B97BDA7A-FB51-487E-A9C0-7C293B18B35E}">
      <dgm:prSet/>
      <dgm:spPr/>
      <dgm:t>
        <a:bodyPr/>
        <a:lstStyle/>
        <a:p>
          <a:endParaRPr lang="en-US"/>
        </a:p>
      </dgm:t>
    </dgm:pt>
    <dgm:pt modelId="{9E6DB5C0-DDB6-436F-9DCD-C19149C0DC63}" type="sibTrans" cxnId="{B97BDA7A-FB51-487E-A9C0-7C293B18B35E}">
      <dgm:prSet/>
      <dgm:spPr/>
      <dgm:t>
        <a:bodyPr/>
        <a:lstStyle/>
        <a:p>
          <a:endParaRPr lang="en-US"/>
        </a:p>
      </dgm:t>
    </dgm:pt>
    <dgm:pt modelId="{5B057C9D-3E59-438E-B52B-3863017DE3E9}">
      <dgm:prSet/>
      <dgm:spPr/>
      <dgm:t>
        <a:bodyPr/>
        <a:lstStyle/>
        <a:p>
          <a:r>
            <a:rPr lang="en-US" b="1"/>
            <a:t>Model based development </a:t>
          </a:r>
          <a:r>
            <a:rPr lang="en-US"/>
            <a:t>(Matlab Simulink/Targetlink)</a:t>
          </a:r>
          <a:endParaRPr lang="en-US" b="1"/>
        </a:p>
      </dgm:t>
    </dgm:pt>
    <dgm:pt modelId="{460844CE-FA55-4A69-B927-B19260FC4B6F}" type="parTrans" cxnId="{C798CDF2-EF6D-47EA-8DA8-FC44B92761FE}">
      <dgm:prSet/>
      <dgm:spPr/>
      <dgm:t>
        <a:bodyPr/>
        <a:lstStyle/>
        <a:p>
          <a:endParaRPr lang="en-US"/>
        </a:p>
      </dgm:t>
    </dgm:pt>
    <dgm:pt modelId="{2BEB281F-A2B8-402A-80D4-D51A2DCA8320}" type="sibTrans" cxnId="{C798CDF2-EF6D-47EA-8DA8-FC44B92761FE}">
      <dgm:prSet/>
      <dgm:spPr/>
      <dgm:t>
        <a:bodyPr/>
        <a:lstStyle/>
        <a:p>
          <a:endParaRPr lang="en-US"/>
        </a:p>
      </dgm:t>
    </dgm:pt>
    <dgm:pt modelId="{98458FF3-FCF9-4FF2-9793-92DE831E7D7B}">
      <dgm:prSet/>
      <dgm:spPr/>
      <dgm:t>
        <a:bodyPr/>
        <a:lstStyle/>
        <a:p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Test environment based on proprietary solutions</a:t>
          </a:r>
        </a:p>
      </dgm:t>
    </dgm:pt>
    <dgm:pt modelId="{29C301AF-E82A-4122-B415-7F0B9E3CC6F2}" type="parTrans" cxnId="{9AB4DC70-2492-4FDF-9645-C517A86336A1}">
      <dgm:prSet/>
      <dgm:spPr/>
      <dgm:t>
        <a:bodyPr/>
        <a:lstStyle/>
        <a:p>
          <a:endParaRPr lang="en-US"/>
        </a:p>
      </dgm:t>
    </dgm:pt>
    <dgm:pt modelId="{DF174A75-1F0D-44FC-BD59-F2C356FB5600}" type="sibTrans" cxnId="{9AB4DC70-2492-4FDF-9645-C517A86336A1}">
      <dgm:prSet/>
      <dgm:spPr/>
      <dgm:t>
        <a:bodyPr/>
        <a:lstStyle/>
        <a:p>
          <a:endParaRPr lang="en-US"/>
        </a:p>
      </dgm:t>
    </dgm:pt>
    <dgm:pt modelId="{C16B7AD2-793D-4B64-85C0-D938CF58F4EF}">
      <dgm:prSet/>
      <dgm:spPr/>
      <dgm:t>
        <a:bodyPr/>
        <a:lstStyle/>
        <a:p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Matlab/Simulink and TestStand/LabView implementations in tool chains</a:t>
          </a:r>
        </a:p>
      </dgm:t>
    </dgm:pt>
    <dgm:pt modelId="{DB311B87-91B7-4099-BD75-771E2F0DBC21}" type="parTrans" cxnId="{B0E69A82-7398-43D7-B263-25200E7289D9}">
      <dgm:prSet/>
      <dgm:spPr/>
      <dgm:t>
        <a:bodyPr/>
        <a:lstStyle/>
        <a:p>
          <a:endParaRPr lang="en-US"/>
        </a:p>
      </dgm:t>
    </dgm:pt>
    <dgm:pt modelId="{0D6D76D4-5DB1-41E8-97BB-B588E0BF6684}" type="sibTrans" cxnId="{B0E69A82-7398-43D7-B263-25200E7289D9}">
      <dgm:prSet/>
      <dgm:spPr/>
      <dgm:t>
        <a:bodyPr/>
        <a:lstStyle/>
        <a:p>
          <a:endParaRPr lang="en-US"/>
        </a:p>
      </dgm:t>
    </dgm:pt>
    <dgm:pt modelId="{EB02BEB3-3852-457A-BD69-F6942DA37FD4}">
      <dgm:prSet/>
      <dgm:spPr/>
      <dgm:t>
        <a:bodyPr/>
        <a:lstStyle/>
        <a:p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Various functionality under test </a:t>
          </a:r>
        </a:p>
      </dgm:t>
    </dgm:pt>
    <dgm:pt modelId="{12743B24-D941-44CF-86E6-F415A90124CF}" type="parTrans" cxnId="{7F8F7D0D-FD46-48EA-BFCA-56AD7E50FC45}">
      <dgm:prSet/>
      <dgm:spPr/>
      <dgm:t>
        <a:bodyPr/>
        <a:lstStyle/>
        <a:p>
          <a:endParaRPr lang="en-US"/>
        </a:p>
      </dgm:t>
    </dgm:pt>
    <dgm:pt modelId="{535C7B84-8B96-47CC-BBE9-D6B9C027AE08}" type="sibTrans" cxnId="{7F8F7D0D-FD46-48EA-BFCA-56AD7E50FC45}">
      <dgm:prSet/>
      <dgm:spPr/>
      <dgm:t>
        <a:bodyPr/>
        <a:lstStyle/>
        <a:p>
          <a:endParaRPr lang="en-US"/>
        </a:p>
      </dgm:t>
    </dgm:pt>
    <dgm:pt modelId="{7978C46C-C941-4C4F-A713-F15A6BCF44DE}">
      <dgm:prSet/>
      <dgm:spPr/>
      <dgm:t>
        <a:bodyPr/>
        <a:lstStyle/>
        <a:p>
          <a:r>
            <a:rPr lang="en-US" b="1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Lifetime tester design &amp; </a:t>
          </a:r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PTS </a:t>
          </a:r>
          <a:endParaRPr lang="en-US" b="1">
            <a:solidFill>
              <a:srgbClr val="000000">
                <a:hueOff val="0"/>
                <a:satOff val="0"/>
                <a:lumOff val="0"/>
                <a:alphaOff val="0"/>
              </a:srgbClr>
            </a:solidFill>
          </a:endParaRPr>
        </a:p>
      </dgm:t>
    </dgm:pt>
    <dgm:pt modelId="{A473C8E6-67DD-4FBB-ABCF-48761CA2F3DB}" type="parTrans" cxnId="{EDEE7EB3-D0EB-475D-B3A4-39D720989EB2}">
      <dgm:prSet/>
      <dgm:spPr/>
      <dgm:t>
        <a:bodyPr/>
        <a:lstStyle/>
        <a:p>
          <a:endParaRPr lang="en-US"/>
        </a:p>
      </dgm:t>
    </dgm:pt>
    <dgm:pt modelId="{AF26CCBF-0AE5-44D4-85EF-7FE5A7E57C05}" type="sibTrans" cxnId="{EDEE7EB3-D0EB-475D-B3A4-39D720989EB2}">
      <dgm:prSet/>
      <dgm:spPr/>
      <dgm:t>
        <a:bodyPr/>
        <a:lstStyle/>
        <a:p>
          <a:endParaRPr lang="en-US"/>
        </a:p>
      </dgm:t>
    </dgm:pt>
    <dgm:pt modelId="{81D47374-3830-4753-BE71-FEA9707F246F}">
      <dgm:prSet/>
      <dgm:spPr/>
      <dgm:t>
        <a:bodyPr/>
        <a:lstStyle/>
        <a:p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System Architecture</a:t>
          </a:r>
        </a:p>
      </dgm:t>
    </dgm:pt>
    <dgm:pt modelId="{4FC7D47D-6B0D-4D3D-94FD-61635E8462C5}" type="parTrans" cxnId="{A5C3D8E3-D71B-4441-A6CB-83EE815B5F4C}">
      <dgm:prSet/>
      <dgm:spPr/>
      <dgm:t>
        <a:bodyPr/>
        <a:lstStyle/>
        <a:p>
          <a:endParaRPr lang="en-US"/>
        </a:p>
      </dgm:t>
    </dgm:pt>
    <dgm:pt modelId="{19DE3C32-BA22-467E-9BE1-FA500170AB25}" type="sibTrans" cxnId="{A5C3D8E3-D71B-4441-A6CB-83EE815B5F4C}">
      <dgm:prSet/>
      <dgm:spPr/>
      <dgm:t>
        <a:bodyPr/>
        <a:lstStyle/>
        <a:p>
          <a:endParaRPr lang="en-US"/>
        </a:p>
      </dgm:t>
    </dgm:pt>
    <dgm:pt modelId="{2AA9D76B-8244-4A6F-B643-6F93B939FF12}">
      <dgm:prSet/>
      <dgm:spPr/>
      <dgm:t>
        <a:bodyPr/>
        <a:lstStyle/>
        <a:p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Project Engineering for Safety</a:t>
          </a:r>
        </a:p>
      </dgm:t>
    </dgm:pt>
    <dgm:pt modelId="{AE7D5661-536F-437E-9FB6-5A7B57D3830C}" type="parTrans" cxnId="{E1E8675A-44D9-41EB-B626-C5AEB1CE8C68}">
      <dgm:prSet/>
      <dgm:spPr/>
      <dgm:t>
        <a:bodyPr/>
        <a:lstStyle/>
        <a:p>
          <a:endParaRPr lang="en-US"/>
        </a:p>
      </dgm:t>
    </dgm:pt>
    <dgm:pt modelId="{E0C54358-1A2B-40E4-B896-D49091D9A361}" type="sibTrans" cxnId="{E1E8675A-44D9-41EB-B626-C5AEB1CE8C68}">
      <dgm:prSet/>
      <dgm:spPr/>
      <dgm:t>
        <a:bodyPr/>
        <a:lstStyle/>
        <a:p>
          <a:endParaRPr lang="en-US"/>
        </a:p>
      </dgm:t>
    </dgm:pt>
    <dgm:pt modelId="{D96E644D-900B-4B3C-9F1E-60503AB900AD}">
      <dgm:prSet/>
      <dgm:spPr/>
      <dgm:t>
        <a:bodyPr/>
        <a:lstStyle/>
        <a:p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Requirements Management</a:t>
          </a:r>
        </a:p>
      </dgm:t>
    </dgm:pt>
    <dgm:pt modelId="{E940E712-3075-493A-A005-55A51C89D837}" type="parTrans" cxnId="{CA951C31-3A95-4A58-9114-EB7E1F104EA9}">
      <dgm:prSet/>
      <dgm:spPr/>
      <dgm:t>
        <a:bodyPr/>
        <a:lstStyle/>
        <a:p>
          <a:endParaRPr lang="en-US"/>
        </a:p>
      </dgm:t>
    </dgm:pt>
    <dgm:pt modelId="{9756722B-769C-47FE-9FE3-925F55D0C485}" type="sibTrans" cxnId="{CA951C31-3A95-4A58-9114-EB7E1F104EA9}">
      <dgm:prSet/>
      <dgm:spPr/>
      <dgm:t>
        <a:bodyPr/>
        <a:lstStyle/>
        <a:p>
          <a:endParaRPr lang="en-US"/>
        </a:p>
      </dgm:t>
    </dgm:pt>
    <dgm:pt modelId="{9F990094-110C-486A-9E3C-7CC6D8F6F480}">
      <dgm:prSet/>
      <dgm:spPr/>
      <dgm:t>
        <a:bodyPr/>
        <a:lstStyle/>
        <a:p>
          <a:r>
            <a:rPr lang="en-US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Advanced Software Algorithm </a:t>
          </a:r>
        </a:p>
      </dgm:t>
    </dgm:pt>
    <dgm:pt modelId="{08DEB104-42E4-4E29-BF5B-CD5EDE79CA3F}" type="parTrans" cxnId="{C279BDC5-E028-4EDF-BE6A-4B499B56E3ED}">
      <dgm:prSet/>
      <dgm:spPr/>
      <dgm:t>
        <a:bodyPr/>
        <a:lstStyle/>
        <a:p>
          <a:endParaRPr lang="en-US"/>
        </a:p>
      </dgm:t>
    </dgm:pt>
    <dgm:pt modelId="{1B375790-36B2-4E6C-A3D4-88178E3057BB}" type="sibTrans" cxnId="{C279BDC5-E028-4EDF-BE6A-4B499B56E3ED}">
      <dgm:prSet/>
      <dgm:spPr/>
      <dgm:t>
        <a:bodyPr/>
        <a:lstStyle/>
        <a:p>
          <a:endParaRPr lang="en-US"/>
        </a:p>
      </dgm:t>
    </dgm:pt>
    <dgm:pt modelId="{226800C7-6C2D-41E0-A192-3E46DE2B27A7}" type="pres">
      <dgm:prSet presAssocID="{0C008656-AA2D-4918-92BF-5C65344F66E8}" presName="linear" presStyleCnt="0">
        <dgm:presLayoutVars>
          <dgm:dir/>
          <dgm:resizeHandles val="exact"/>
        </dgm:presLayoutVars>
      </dgm:prSet>
      <dgm:spPr/>
    </dgm:pt>
    <dgm:pt modelId="{F40E6926-90FA-46AA-A24B-49AE551E5396}" type="pres">
      <dgm:prSet presAssocID="{3964C421-8916-44D1-8C88-B5690154FD78}" presName="comp" presStyleCnt="0"/>
      <dgm:spPr/>
    </dgm:pt>
    <dgm:pt modelId="{9F848D7D-1631-42E7-A5DB-65B403B49FAD}" type="pres">
      <dgm:prSet presAssocID="{3964C421-8916-44D1-8C88-B5690154FD78}" presName="box" presStyleLbl="node1" presStyleIdx="0" presStyleCnt="3"/>
      <dgm:spPr/>
    </dgm:pt>
    <dgm:pt modelId="{FB319FCB-95E0-46B0-8CD9-7AAD321D7697}" type="pres">
      <dgm:prSet presAssocID="{3964C421-8916-44D1-8C88-B5690154FD78}" presName="img" presStyleLbl="fgImgPlace1" presStyleIdx="0" presStyleCnt="3"/>
      <dgm:spPr>
        <a:blipFill rotWithShape="1">
          <a:blip xmlns:r="http://schemas.openxmlformats.org/officeDocument/2006/relationships" r:embed="rId1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</a:blip>
          <a:srcRect/>
          <a:stretch>
            <a:fillRect l="-40000" r="-40000"/>
          </a:stretch>
        </a:blipFill>
      </dgm:spPr>
    </dgm:pt>
    <dgm:pt modelId="{B27AD29B-979F-4BB2-B692-B83B7B808796}" type="pres">
      <dgm:prSet presAssocID="{3964C421-8916-44D1-8C88-B5690154FD78}" presName="text" presStyleLbl="node1" presStyleIdx="0" presStyleCnt="3">
        <dgm:presLayoutVars>
          <dgm:bulletEnabled val="1"/>
        </dgm:presLayoutVars>
      </dgm:prSet>
      <dgm:spPr/>
    </dgm:pt>
    <dgm:pt modelId="{A5E4A3FE-590A-4F28-AB65-0BA783174DD1}" type="pres">
      <dgm:prSet presAssocID="{C4973E41-A854-454D-8922-5740CAC859FD}" presName="spacer" presStyleCnt="0"/>
      <dgm:spPr/>
    </dgm:pt>
    <dgm:pt modelId="{071866E7-52E0-4CD6-AF45-DFF247FE1AF9}" type="pres">
      <dgm:prSet presAssocID="{10072581-1C57-45C9-AE60-541CE3FA265F}" presName="comp" presStyleCnt="0"/>
      <dgm:spPr/>
    </dgm:pt>
    <dgm:pt modelId="{2D875F3E-E22D-4A7B-BAD1-FDDCD3A42FA0}" type="pres">
      <dgm:prSet presAssocID="{10072581-1C57-45C9-AE60-541CE3FA265F}" presName="box" presStyleLbl="node1" presStyleIdx="1" presStyleCnt="3"/>
      <dgm:spPr/>
    </dgm:pt>
    <dgm:pt modelId="{5EA0340C-F92E-4832-B790-4C8A2E0956A1}" type="pres">
      <dgm:prSet presAssocID="{10072581-1C57-45C9-AE60-541CE3FA265F}" presName="img" presStyleLbl="fgImgPlace1" presStyleIdx="1" presStyleCnt="3"/>
      <dgm:spPr>
        <a:blipFill rotWithShape="1">
          <a:blip xmlns:r="http://schemas.openxmlformats.org/officeDocument/2006/relationships" r:embed="rId2" cstate="print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</dgm:spPr>
    </dgm:pt>
    <dgm:pt modelId="{5ABC7423-5100-4CE7-AECD-FA14ECA95269}" type="pres">
      <dgm:prSet presAssocID="{10072581-1C57-45C9-AE60-541CE3FA265F}" presName="text" presStyleLbl="node1" presStyleIdx="1" presStyleCnt="3">
        <dgm:presLayoutVars>
          <dgm:bulletEnabled val="1"/>
        </dgm:presLayoutVars>
      </dgm:prSet>
      <dgm:spPr/>
    </dgm:pt>
    <dgm:pt modelId="{F8CE9467-5ED7-4980-92BB-E8D9E3D07EC2}" type="pres">
      <dgm:prSet presAssocID="{28AE162C-223A-4CDE-9784-239917F8FB95}" presName="spacer" presStyleCnt="0"/>
      <dgm:spPr/>
    </dgm:pt>
    <dgm:pt modelId="{7606A998-7E3C-4DE9-937D-892E192BC1C9}" type="pres">
      <dgm:prSet presAssocID="{6F8A0337-936C-42A2-AB7C-CA907A7B2058}" presName="comp" presStyleCnt="0"/>
      <dgm:spPr/>
    </dgm:pt>
    <dgm:pt modelId="{AE901289-B432-4446-8346-CF0CAFA32357}" type="pres">
      <dgm:prSet presAssocID="{6F8A0337-936C-42A2-AB7C-CA907A7B2058}" presName="box" presStyleLbl="node1" presStyleIdx="2" presStyleCnt="3"/>
      <dgm:spPr/>
    </dgm:pt>
    <dgm:pt modelId="{4AAF8795-5730-48D3-AD85-519266F452F7}" type="pres">
      <dgm:prSet presAssocID="{6F8A0337-936C-42A2-AB7C-CA907A7B2058}" presName="img" presStyleLbl="fgImgPlace1" presStyleIdx="2" presStyleCnt="3"/>
      <dgm:spPr>
        <a:blipFill rotWithShape="1">
          <a:blip xmlns:r="http://schemas.openxmlformats.org/officeDocument/2006/relationships" r:embed="rId3" cstate="print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</dgm:spPr>
    </dgm:pt>
    <dgm:pt modelId="{398151C6-8C20-46B0-AF5D-7EAA0461850D}" type="pres">
      <dgm:prSet presAssocID="{6F8A0337-936C-42A2-AB7C-CA907A7B2058}" presName="text" presStyleLbl="node1" presStyleIdx="2" presStyleCnt="3">
        <dgm:presLayoutVars>
          <dgm:bulletEnabled val="1"/>
        </dgm:presLayoutVars>
      </dgm:prSet>
      <dgm:spPr/>
    </dgm:pt>
  </dgm:ptLst>
  <dgm:cxnLst>
    <dgm:cxn modelId="{7AD9A50A-9BFC-401C-A8D3-75C1523BD014}" type="presOf" srcId="{E30D33C3-7840-4F55-B373-8A11C2FCFC33}" destId="{9F848D7D-1631-42E7-A5DB-65B403B49FAD}" srcOrd="0" destOrd="5" presId="urn:microsoft.com/office/officeart/2005/8/layout/vList4"/>
    <dgm:cxn modelId="{7F8F7D0D-FD46-48EA-BFCA-56AD7E50FC45}" srcId="{6F8A0337-936C-42A2-AB7C-CA907A7B2058}" destId="{EB02BEB3-3852-457A-BD69-F6942DA37FD4}" srcOrd="3" destOrd="0" parTransId="{12743B24-D941-44CF-86E6-F415A90124CF}" sibTransId="{535C7B84-8B96-47CC-BBE9-D6B9C027AE08}"/>
    <dgm:cxn modelId="{FBC15D30-D929-44ED-8C24-6F754ACF841B}" type="presOf" srcId="{9371B788-5FF3-42FE-BB6C-6E220E6D140B}" destId="{5ABC7423-5100-4CE7-AECD-FA14ECA95269}" srcOrd="1" destOrd="1" presId="urn:microsoft.com/office/officeart/2005/8/layout/vList4"/>
    <dgm:cxn modelId="{CA951C31-3A95-4A58-9114-EB7E1F104EA9}" srcId="{10072581-1C57-45C9-AE60-541CE3FA265F}" destId="{D96E644D-900B-4B3C-9F1E-60503AB900AD}" srcOrd="3" destOrd="0" parTransId="{E940E712-3075-493A-A005-55A51C89D837}" sibTransId="{9756722B-769C-47FE-9FE3-925F55D0C485}"/>
    <dgm:cxn modelId="{D04D5C31-B6A2-474F-A91D-C81438616A40}" type="presOf" srcId="{2FCB4A8F-5EFD-4B3A-8C37-8315A5E733E7}" destId="{9F848D7D-1631-42E7-A5DB-65B403B49FAD}" srcOrd="0" destOrd="1" presId="urn:microsoft.com/office/officeart/2005/8/layout/vList4"/>
    <dgm:cxn modelId="{6ABC2636-D47C-44CB-B296-514A28B42EE2}" type="presOf" srcId="{10072581-1C57-45C9-AE60-541CE3FA265F}" destId="{2D875F3E-E22D-4A7B-BAD1-FDDCD3A42FA0}" srcOrd="0" destOrd="0" presId="urn:microsoft.com/office/officeart/2005/8/layout/vList4"/>
    <dgm:cxn modelId="{05FC113B-B2DD-4B59-9757-24F271296BDB}" srcId="{0C008656-AA2D-4918-92BF-5C65344F66E8}" destId="{3964C421-8916-44D1-8C88-B5690154FD78}" srcOrd="0" destOrd="0" parTransId="{FA3EBD88-0261-45CE-882E-587686C9FBDC}" sibTransId="{C4973E41-A854-454D-8922-5740CAC859FD}"/>
    <dgm:cxn modelId="{45189D3C-EADA-48D3-9F8C-39F2FAE6664F}" type="presOf" srcId="{40475391-0546-4FA1-8DFE-DCA93662E5B9}" destId="{9F848D7D-1631-42E7-A5DB-65B403B49FAD}" srcOrd="0" destOrd="2" presId="urn:microsoft.com/office/officeart/2005/8/layout/vList4"/>
    <dgm:cxn modelId="{61C1F03C-DF0C-4554-ADC2-C13AE88E4A1B}" type="presOf" srcId="{B86C0B0F-FC21-4B4C-B22B-9E20DC591C41}" destId="{B27AD29B-979F-4BB2-B692-B83B7B808796}" srcOrd="1" destOrd="4" presId="urn:microsoft.com/office/officeart/2005/8/layout/vList4"/>
    <dgm:cxn modelId="{1D39205C-698A-413C-81EB-9FF3F2464250}" srcId="{0C008656-AA2D-4918-92BF-5C65344F66E8}" destId="{10072581-1C57-45C9-AE60-541CE3FA265F}" srcOrd="1" destOrd="0" parTransId="{4F5CE7B2-5100-47BE-BF47-8E26CEC1D0ED}" sibTransId="{28AE162C-223A-4CDE-9784-239917F8FB95}"/>
    <dgm:cxn modelId="{CAD7215C-10D5-4AA2-B8E8-C1BA563BF42F}" type="presOf" srcId="{5B057C9D-3E59-438E-B52B-3863017DE3E9}" destId="{9F848D7D-1631-42E7-A5DB-65B403B49FAD}" srcOrd="0" destOrd="6" presId="urn:microsoft.com/office/officeart/2005/8/layout/vList4"/>
    <dgm:cxn modelId="{66C20D42-4851-4BDB-B771-EDD09E1C6C33}" type="presOf" srcId="{C16B7AD2-793D-4B64-85C0-D938CF58F4EF}" destId="{398151C6-8C20-46B0-AF5D-7EAA0461850D}" srcOrd="1" destOrd="3" presId="urn:microsoft.com/office/officeart/2005/8/layout/vList4"/>
    <dgm:cxn modelId="{08C5E163-D12E-4A37-B425-B37138EDA702}" type="presOf" srcId="{EB02BEB3-3852-457A-BD69-F6942DA37FD4}" destId="{AE901289-B432-4446-8346-CF0CAFA32357}" srcOrd="0" destOrd="4" presId="urn:microsoft.com/office/officeart/2005/8/layout/vList4"/>
    <dgm:cxn modelId="{13030046-AFD8-4C7C-856D-A1F85A3AA734}" type="presOf" srcId="{D96E644D-900B-4B3C-9F1E-60503AB900AD}" destId="{2D875F3E-E22D-4A7B-BAD1-FDDCD3A42FA0}" srcOrd="0" destOrd="4" presId="urn:microsoft.com/office/officeart/2005/8/layout/vList4"/>
    <dgm:cxn modelId="{A26AF967-1DC1-4521-AD5B-67B900AE4DF5}" type="presOf" srcId="{D96E644D-900B-4B3C-9F1E-60503AB900AD}" destId="{5ABC7423-5100-4CE7-AECD-FA14ECA95269}" srcOrd="1" destOrd="4" presId="urn:microsoft.com/office/officeart/2005/8/layout/vList4"/>
    <dgm:cxn modelId="{9E0E0769-EC44-47C9-AE2D-466E87D5564D}" type="presOf" srcId="{5B057C9D-3E59-438E-B52B-3863017DE3E9}" destId="{B27AD29B-979F-4BB2-B692-B83B7B808796}" srcOrd="1" destOrd="6" presId="urn:microsoft.com/office/officeart/2005/8/layout/vList4"/>
    <dgm:cxn modelId="{00F3AA6A-F9AF-4E34-8F6C-A9A93CA69D7C}" type="presOf" srcId="{98458FF3-FCF9-4FF2-9793-92DE831E7D7B}" destId="{AE901289-B432-4446-8346-CF0CAFA32357}" srcOrd="0" destOrd="2" presId="urn:microsoft.com/office/officeart/2005/8/layout/vList4"/>
    <dgm:cxn modelId="{D6D82B4B-5EB0-4E12-9999-C2856B142938}" type="presOf" srcId="{B86C0B0F-FC21-4B4C-B22B-9E20DC591C41}" destId="{9F848D7D-1631-42E7-A5DB-65B403B49FAD}" srcOrd="0" destOrd="4" presId="urn:microsoft.com/office/officeart/2005/8/layout/vList4"/>
    <dgm:cxn modelId="{02491050-694D-486A-AC0B-5A53145808F3}" type="presOf" srcId="{2FCB4A8F-5EFD-4B3A-8C37-8315A5E733E7}" destId="{B27AD29B-979F-4BB2-B692-B83B7B808796}" srcOrd="1" destOrd="1" presId="urn:microsoft.com/office/officeart/2005/8/layout/vList4"/>
    <dgm:cxn modelId="{B547AD50-7D8A-44F1-A61A-0508B1EB4706}" type="presOf" srcId="{3964C421-8916-44D1-8C88-B5690154FD78}" destId="{B27AD29B-979F-4BB2-B692-B83B7B808796}" srcOrd="1" destOrd="0" presId="urn:microsoft.com/office/officeart/2005/8/layout/vList4"/>
    <dgm:cxn modelId="{9AB4DC70-2492-4FDF-9645-C517A86336A1}" srcId="{6F8A0337-936C-42A2-AB7C-CA907A7B2058}" destId="{98458FF3-FCF9-4FF2-9793-92DE831E7D7B}" srcOrd="1" destOrd="0" parTransId="{29C301AF-E82A-4122-B415-7F0B9E3CC6F2}" sibTransId="{DF174A75-1F0D-44FC-BD59-F2C356FB5600}"/>
    <dgm:cxn modelId="{799E0A53-AB24-40BA-9335-38144EAA2EA0}" type="presOf" srcId="{C16B7AD2-793D-4B64-85C0-D938CF58F4EF}" destId="{AE901289-B432-4446-8346-CF0CAFA32357}" srcOrd="0" destOrd="3" presId="urn:microsoft.com/office/officeart/2005/8/layout/vList4"/>
    <dgm:cxn modelId="{5E005175-0EF8-4134-81D3-6D9C117BA66E}" srcId="{6F8A0337-936C-42A2-AB7C-CA907A7B2058}" destId="{7BDD225E-826F-4C1F-B873-CF6A6C99F5A0}" srcOrd="0" destOrd="0" parTransId="{EFDA8988-25B9-4025-B38C-F31766636F58}" sibTransId="{AAA82CE0-F2A8-49C4-8DEF-D9B2DA2FBBD5}"/>
    <dgm:cxn modelId="{68B89156-070E-419D-B20B-CD85F730D57C}" type="presOf" srcId="{6F8A0337-936C-42A2-AB7C-CA907A7B2058}" destId="{AE901289-B432-4446-8346-CF0CAFA32357}" srcOrd="0" destOrd="0" presId="urn:microsoft.com/office/officeart/2005/8/layout/vList4"/>
    <dgm:cxn modelId="{E1E8675A-44D9-41EB-B626-C5AEB1CE8C68}" srcId="{10072581-1C57-45C9-AE60-541CE3FA265F}" destId="{2AA9D76B-8244-4A6F-B643-6F93B939FF12}" srcOrd="2" destOrd="0" parTransId="{AE7D5661-536F-437E-9FB6-5A7B57D3830C}" sibTransId="{E0C54358-1A2B-40E4-B896-D49091D9A361}"/>
    <dgm:cxn modelId="{B97BDA7A-FB51-487E-A9C0-7C293B18B35E}" srcId="{3964C421-8916-44D1-8C88-B5690154FD78}" destId="{E30D33C3-7840-4F55-B373-8A11C2FCFC33}" srcOrd="4" destOrd="0" parTransId="{E2B0ABA3-FA21-47E2-B540-92A3ADBEADB5}" sibTransId="{9E6DB5C0-DDB6-436F-9DCD-C19149C0DC63}"/>
    <dgm:cxn modelId="{A5A25E7F-99A1-4F43-AC78-392D6ED3266E}" srcId="{10072581-1C57-45C9-AE60-541CE3FA265F}" destId="{9371B788-5FF3-42FE-BB6C-6E220E6D140B}" srcOrd="0" destOrd="0" parTransId="{383C3904-C61E-49CB-8A54-63AB6C199F49}" sibTransId="{3EC767BD-7368-44CF-955D-A0B74E6E8CC8}"/>
    <dgm:cxn modelId="{B0E69A82-7398-43D7-B263-25200E7289D9}" srcId="{6F8A0337-936C-42A2-AB7C-CA907A7B2058}" destId="{C16B7AD2-793D-4B64-85C0-D938CF58F4EF}" srcOrd="2" destOrd="0" parTransId="{DB311B87-91B7-4099-BD75-771E2F0DBC21}" sibTransId="{0D6D76D4-5DB1-41E8-97BB-B588E0BF6684}"/>
    <dgm:cxn modelId="{8B561383-8956-4BC3-9F22-8C104AD5A6F9}" type="presOf" srcId="{81D47374-3830-4753-BE71-FEA9707F246F}" destId="{2D875F3E-E22D-4A7B-BAD1-FDDCD3A42FA0}" srcOrd="0" destOrd="2" presId="urn:microsoft.com/office/officeart/2005/8/layout/vList4"/>
    <dgm:cxn modelId="{5D597986-D45E-4942-A217-E0A4255ED1D9}" type="presOf" srcId="{9F990094-110C-486A-9E3C-7CC6D8F6F480}" destId="{5ABC7423-5100-4CE7-AECD-FA14ECA95269}" srcOrd="1" destOrd="5" presId="urn:microsoft.com/office/officeart/2005/8/layout/vList4"/>
    <dgm:cxn modelId="{3F2F7D86-0D33-4018-9BBA-1662DDD8C6C5}" srcId="{0C008656-AA2D-4918-92BF-5C65344F66E8}" destId="{6F8A0337-936C-42A2-AB7C-CA907A7B2058}" srcOrd="2" destOrd="0" parTransId="{F4C5F056-3D0F-4E04-82BB-25BB7DC4FC4D}" sibTransId="{2F332A89-D169-488F-AAEC-63A0ACA5F9CA}"/>
    <dgm:cxn modelId="{27FFC78C-61BD-4258-BDC9-A94C549D3785}" type="presOf" srcId="{23D9B5C8-550E-4B85-BA5D-3D937A039330}" destId="{9F848D7D-1631-42E7-A5DB-65B403B49FAD}" srcOrd="0" destOrd="3" presId="urn:microsoft.com/office/officeart/2005/8/layout/vList4"/>
    <dgm:cxn modelId="{07D1388D-E5E8-43EF-97BD-44FB811A0444}" type="presOf" srcId="{7BDD225E-826F-4C1F-B873-CF6A6C99F5A0}" destId="{398151C6-8C20-46B0-AF5D-7EAA0461850D}" srcOrd="1" destOrd="1" presId="urn:microsoft.com/office/officeart/2005/8/layout/vList4"/>
    <dgm:cxn modelId="{74397C97-80D4-4DC8-8454-976944DF8553}" type="presOf" srcId="{E30D33C3-7840-4F55-B373-8A11C2FCFC33}" destId="{B27AD29B-979F-4BB2-B692-B83B7B808796}" srcOrd="1" destOrd="5" presId="urn:microsoft.com/office/officeart/2005/8/layout/vList4"/>
    <dgm:cxn modelId="{26C8E898-EFB3-439B-B1BE-FA2DBAD37084}" type="presOf" srcId="{23D9B5C8-550E-4B85-BA5D-3D937A039330}" destId="{B27AD29B-979F-4BB2-B692-B83B7B808796}" srcOrd="1" destOrd="3" presId="urn:microsoft.com/office/officeart/2005/8/layout/vList4"/>
    <dgm:cxn modelId="{BB83369B-6680-46EA-8E79-5C4119E6C94D}" type="presOf" srcId="{40475391-0546-4FA1-8DFE-DCA93662E5B9}" destId="{B27AD29B-979F-4BB2-B692-B83B7B808796}" srcOrd="1" destOrd="2" presId="urn:microsoft.com/office/officeart/2005/8/layout/vList4"/>
    <dgm:cxn modelId="{6F68DE9F-36EC-4AD3-BC15-7186347A7EF2}" type="presOf" srcId="{7978C46C-C941-4C4F-A713-F15A6BCF44DE}" destId="{398151C6-8C20-46B0-AF5D-7EAA0461850D}" srcOrd="1" destOrd="5" presId="urn:microsoft.com/office/officeart/2005/8/layout/vList4"/>
    <dgm:cxn modelId="{05E5FAA4-E6F5-4EA8-9272-C0736525BF6C}" type="presOf" srcId="{3964C421-8916-44D1-8C88-B5690154FD78}" destId="{9F848D7D-1631-42E7-A5DB-65B403B49FAD}" srcOrd="0" destOrd="0" presId="urn:microsoft.com/office/officeart/2005/8/layout/vList4"/>
    <dgm:cxn modelId="{74CCE4B1-11DF-4D95-B32D-DF9382B206CF}" type="presOf" srcId="{7978C46C-C941-4C4F-A713-F15A6BCF44DE}" destId="{AE901289-B432-4446-8346-CF0CAFA32357}" srcOrd="0" destOrd="5" presId="urn:microsoft.com/office/officeart/2005/8/layout/vList4"/>
    <dgm:cxn modelId="{241A0EB3-6D81-4200-BE33-8AFBA3F075F0}" srcId="{3964C421-8916-44D1-8C88-B5690154FD78}" destId="{40475391-0546-4FA1-8DFE-DCA93662E5B9}" srcOrd="1" destOrd="0" parTransId="{4E6978DD-B374-4835-BCB2-4847FE8F2E94}" sibTransId="{BBFF794B-D490-4EF6-BA97-51D18CC8EF32}"/>
    <dgm:cxn modelId="{EDEE7EB3-D0EB-475D-B3A4-39D720989EB2}" srcId="{6F8A0337-936C-42A2-AB7C-CA907A7B2058}" destId="{7978C46C-C941-4C4F-A713-F15A6BCF44DE}" srcOrd="4" destOrd="0" parTransId="{A473C8E6-67DD-4FBB-ABCF-48761CA2F3DB}" sibTransId="{AF26CCBF-0AE5-44D4-85EF-7FE5A7E57C05}"/>
    <dgm:cxn modelId="{974222B8-F9BF-4468-A24C-0E81F448C4AE}" type="presOf" srcId="{9F990094-110C-486A-9E3C-7CC6D8F6F480}" destId="{2D875F3E-E22D-4A7B-BAD1-FDDCD3A42FA0}" srcOrd="0" destOrd="5" presId="urn:microsoft.com/office/officeart/2005/8/layout/vList4"/>
    <dgm:cxn modelId="{B5297FC0-C48D-4B61-9A6C-BC5D6E225DC2}" type="presOf" srcId="{7BDD225E-826F-4C1F-B873-CF6A6C99F5A0}" destId="{AE901289-B432-4446-8346-CF0CAFA32357}" srcOrd="0" destOrd="1" presId="urn:microsoft.com/office/officeart/2005/8/layout/vList4"/>
    <dgm:cxn modelId="{C279BDC5-E028-4EDF-BE6A-4B499B56E3ED}" srcId="{10072581-1C57-45C9-AE60-541CE3FA265F}" destId="{9F990094-110C-486A-9E3C-7CC6D8F6F480}" srcOrd="4" destOrd="0" parTransId="{08DEB104-42E4-4E29-BF5B-CD5EDE79CA3F}" sibTransId="{1B375790-36B2-4E6C-A3D4-88178E3057BB}"/>
    <dgm:cxn modelId="{880BD6C6-F6AE-49C9-97AD-58B532857BB0}" type="presOf" srcId="{6F8A0337-936C-42A2-AB7C-CA907A7B2058}" destId="{398151C6-8C20-46B0-AF5D-7EAA0461850D}" srcOrd="1" destOrd="0" presId="urn:microsoft.com/office/officeart/2005/8/layout/vList4"/>
    <dgm:cxn modelId="{D3521CC9-EF29-4A24-A35C-CA60044E62F5}" type="presOf" srcId="{EB02BEB3-3852-457A-BD69-F6942DA37FD4}" destId="{398151C6-8C20-46B0-AF5D-7EAA0461850D}" srcOrd="1" destOrd="4" presId="urn:microsoft.com/office/officeart/2005/8/layout/vList4"/>
    <dgm:cxn modelId="{BE8BA4CA-B8EB-4556-90BB-EBD1151D3532}" type="presOf" srcId="{0C008656-AA2D-4918-92BF-5C65344F66E8}" destId="{226800C7-6C2D-41E0-A192-3E46DE2B27A7}" srcOrd="0" destOrd="0" presId="urn:microsoft.com/office/officeart/2005/8/layout/vList4"/>
    <dgm:cxn modelId="{2A5D0ECC-0693-4678-9C38-BF4D9550C7B7}" type="presOf" srcId="{9371B788-5FF3-42FE-BB6C-6E220E6D140B}" destId="{2D875F3E-E22D-4A7B-BAD1-FDDCD3A42FA0}" srcOrd="0" destOrd="1" presId="urn:microsoft.com/office/officeart/2005/8/layout/vList4"/>
    <dgm:cxn modelId="{0310EACF-DF97-4354-BC49-5D6A0984961C}" type="presOf" srcId="{81D47374-3830-4753-BE71-FEA9707F246F}" destId="{5ABC7423-5100-4CE7-AECD-FA14ECA95269}" srcOrd="1" destOrd="2" presId="urn:microsoft.com/office/officeart/2005/8/layout/vList4"/>
    <dgm:cxn modelId="{F4B540D9-6FA1-440D-A8D5-EF2C6F0B566F}" type="presOf" srcId="{10072581-1C57-45C9-AE60-541CE3FA265F}" destId="{5ABC7423-5100-4CE7-AECD-FA14ECA95269}" srcOrd="1" destOrd="0" presId="urn:microsoft.com/office/officeart/2005/8/layout/vList4"/>
    <dgm:cxn modelId="{D9FCEEDA-1CF3-419E-8F28-1864D9057490}" srcId="{3964C421-8916-44D1-8C88-B5690154FD78}" destId="{23D9B5C8-550E-4B85-BA5D-3D937A039330}" srcOrd="2" destOrd="0" parTransId="{009EBA56-4064-4B91-BD60-1AFF865263E7}" sibTransId="{DA4AEE60-EF85-4567-B09D-B2CB06636ADC}"/>
    <dgm:cxn modelId="{A074ADDD-80F7-412E-A1C1-BAEEB2D629CC}" srcId="{3964C421-8916-44D1-8C88-B5690154FD78}" destId="{B86C0B0F-FC21-4B4C-B22B-9E20DC591C41}" srcOrd="3" destOrd="0" parTransId="{842DAEF6-A27D-47E2-8978-4F9CF701AAA3}" sibTransId="{F2D69DD4-F342-421D-9A2E-056A5FBA3BCE}"/>
    <dgm:cxn modelId="{ED2191DE-EF42-4C0D-AB8B-C0C02088ED4A}" type="presOf" srcId="{2AA9D76B-8244-4A6F-B643-6F93B939FF12}" destId="{5ABC7423-5100-4CE7-AECD-FA14ECA95269}" srcOrd="1" destOrd="3" presId="urn:microsoft.com/office/officeart/2005/8/layout/vList4"/>
    <dgm:cxn modelId="{4DEBFAE1-2EDE-4196-84B2-78A0BDD0C7DC}" type="presOf" srcId="{98458FF3-FCF9-4FF2-9793-92DE831E7D7B}" destId="{398151C6-8C20-46B0-AF5D-7EAA0461850D}" srcOrd="1" destOrd="2" presId="urn:microsoft.com/office/officeart/2005/8/layout/vList4"/>
    <dgm:cxn modelId="{760B98E3-736B-4795-B394-C2978F6F47D5}" type="presOf" srcId="{2AA9D76B-8244-4A6F-B643-6F93B939FF12}" destId="{2D875F3E-E22D-4A7B-BAD1-FDDCD3A42FA0}" srcOrd="0" destOrd="3" presId="urn:microsoft.com/office/officeart/2005/8/layout/vList4"/>
    <dgm:cxn modelId="{A5C3D8E3-D71B-4441-A6CB-83EE815B5F4C}" srcId="{10072581-1C57-45C9-AE60-541CE3FA265F}" destId="{81D47374-3830-4753-BE71-FEA9707F246F}" srcOrd="1" destOrd="0" parTransId="{4FC7D47D-6B0D-4D3D-94FD-61635E8462C5}" sibTransId="{19DE3C32-BA22-467E-9BE1-FA500170AB25}"/>
    <dgm:cxn modelId="{C798CDF2-EF6D-47EA-8DA8-FC44B92761FE}" srcId="{3964C421-8916-44D1-8C88-B5690154FD78}" destId="{5B057C9D-3E59-438E-B52B-3863017DE3E9}" srcOrd="5" destOrd="0" parTransId="{460844CE-FA55-4A69-B927-B19260FC4B6F}" sibTransId="{2BEB281F-A2B8-402A-80D4-D51A2DCA8320}"/>
    <dgm:cxn modelId="{EFF9F5F9-489C-4BD1-8F9E-EC23E40C2D58}" srcId="{3964C421-8916-44D1-8C88-B5690154FD78}" destId="{2FCB4A8F-5EFD-4B3A-8C37-8315A5E733E7}" srcOrd="0" destOrd="0" parTransId="{DF8E2F33-A1BC-4DA1-BD07-928A6DB2B7C4}" sibTransId="{45EABDCE-207C-490E-8177-0C0896C5BF8C}"/>
    <dgm:cxn modelId="{345AC9A2-F7AF-4DB8-ACE4-AEE6DC2FA00F}" type="presParOf" srcId="{226800C7-6C2D-41E0-A192-3E46DE2B27A7}" destId="{F40E6926-90FA-46AA-A24B-49AE551E5396}" srcOrd="0" destOrd="0" presId="urn:microsoft.com/office/officeart/2005/8/layout/vList4"/>
    <dgm:cxn modelId="{050D1B38-4BC3-4D04-9E48-938A96BC1E71}" type="presParOf" srcId="{F40E6926-90FA-46AA-A24B-49AE551E5396}" destId="{9F848D7D-1631-42E7-A5DB-65B403B49FAD}" srcOrd="0" destOrd="0" presId="urn:microsoft.com/office/officeart/2005/8/layout/vList4"/>
    <dgm:cxn modelId="{005F5075-561B-44B1-9F8C-10E952F2254D}" type="presParOf" srcId="{F40E6926-90FA-46AA-A24B-49AE551E5396}" destId="{FB319FCB-95E0-46B0-8CD9-7AAD321D7697}" srcOrd="1" destOrd="0" presId="urn:microsoft.com/office/officeart/2005/8/layout/vList4"/>
    <dgm:cxn modelId="{B287E7A5-0B23-4C18-992A-F75AF8E6D176}" type="presParOf" srcId="{F40E6926-90FA-46AA-A24B-49AE551E5396}" destId="{B27AD29B-979F-4BB2-B692-B83B7B808796}" srcOrd="2" destOrd="0" presId="urn:microsoft.com/office/officeart/2005/8/layout/vList4"/>
    <dgm:cxn modelId="{87D0B347-601D-4B2D-BA39-97D7641299F7}" type="presParOf" srcId="{226800C7-6C2D-41E0-A192-3E46DE2B27A7}" destId="{A5E4A3FE-590A-4F28-AB65-0BA783174DD1}" srcOrd="1" destOrd="0" presId="urn:microsoft.com/office/officeart/2005/8/layout/vList4"/>
    <dgm:cxn modelId="{3B0DC4D1-AC0A-467B-9601-E14F84AFE5AA}" type="presParOf" srcId="{226800C7-6C2D-41E0-A192-3E46DE2B27A7}" destId="{071866E7-52E0-4CD6-AF45-DFF247FE1AF9}" srcOrd="2" destOrd="0" presId="urn:microsoft.com/office/officeart/2005/8/layout/vList4"/>
    <dgm:cxn modelId="{515BF700-FF58-49CE-8F9E-FF098D614768}" type="presParOf" srcId="{071866E7-52E0-4CD6-AF45-DFF247FE1AF9}" destId="{2D875F3E-E22D-4A7B-BAD1-FDDCD3A42FA0}" srcOrd="0" destOrd="0" presId="urn:microsoft.com/office/officeart/2005/8/layout/vList4"/>
    <dgm:cxn modelId="{53476ABC-1C8B-4F12-B8F3-C1D88BFA33D5}" type="presParOf" srcId="{071866E7-52E0-4CD6-AF45-DFF247FE1AF9}" destId="{5EA0340C-F92E-4832-B790-4C8A2E0956A1}" srcOrd="1" destOrd="0" presId="urn:microsoft.com/office/officeart/2005/8/layout/vList4"/>
    <dgm:cxn modelId="{75CDA5F7-F2B6-4A5A-AAD7-6A42EDBBA9B7}" type="presParOf" srcId="{071866E7-52E0-4CD6-AF45-DFF247FE1AF9}" destId="{5ABC7423-5100-4CE7-AECD-FA14ECA95269}" srcOrd="2" destOrd="0" presId="urn:microsoft.com/office/officeart/2005/8/layout/vList4"/>
    <dgm:cxn modelId="{6F7EFFB3-11E6-41FA-9848-B55651E7F58D}" type="presParOf" srcId="{226800C7-6C2D-41E0-A192-3E46DE2B27A7}" destId="{F8CE9467-5ED7-4980-92BB-E8D9E3D07EC2}" srcOrd="3" destOrd="0" presId="urn:microsoft.com/office/officeart/2005/8/layout/vList4"/>
    <dgm:cxn modelId="{85E94701-5684-4918-8787-0802944FF52D}" type="presParOf" srcId="{226800C7-6C2D-41E0-A192-3E46DE2B27A7}" destId="{7606A998-7E3C-4DE9-937D-892E192BC1C9}" srcOrd="4" destOrd="0" presId="urn:microsoft.com/office/officeart/2005/8/layout/vList4"/>
    <dgm:cxn modelId="{725BBEB9-C758-40CE-9E01-1B9CA0F541E5}" type="presParOf" srcId="{7606A998-7E3C-4DE9-937D-892E192BC1C9}" destId="{AE901289-B432-4446-8346-CF0CAFA32357}" srcOrd="0" destOrd="0" presId="urn:microsoft.com/office/officeart/2005/8/layout/vList4"/>
    <dgm:cxn modelId="{6D7D234A-C281-40AF-987F-138F076DA0B9}" type="presParOf" srcId="{7606A998-7E3C-4DE9-937D-892E192BC1C9}" destId="{4AAF8795-5730-48D3-AD85-519266F452F7}" srcOrd="1" destOrd="0" presId="urn:microsoft.com/office/officeart/2005/8/layout/vList4"/>
    <dgm:cxn modelId="{A4967FDC-642D-41A1-B301-8880B6F05C81}" type="presParOf" srcId="{7606A998-7E3C-4DE9-937D-892E192BC1C9}" destId="{398151C6-8C20-46B0-AF5D-7EAA0461850D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8B0012B-533E-4F5A-83D9-4C1E54295054}" type="doc">
      <dgm:prSet loTypeId="urn:microsoft.com/office/officeart/2008/layout/PictureStrips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D242EC62-7A2F-4D7C-8CE0-214882C318EA}">
      <dgm:prSet phldrT="[Text]" custT="1"/>
      <dgm:spPr/>
      <dgm:t>
        <a:bodyPr/>
        <a:lstStyle/>
        <a:p>
          <a:r>
            <a:rPr lang="en-US" sz="1400" b="1" dirty="0"/>
            <a:t>Hardware Development Technical Skills </a:t>
          </a:r>
        </a:p>
        <a:p>
          <a:r>
            <a:rPr lang="en-US" sz="1400" dirty="0"/>
            <a:t>- Basic electronics knowledge </a:t>
          </a:r>
        </a:p>
      </dgm:t>
    </dgm:pt>
    <dgm:pt modelId="{F5D3DC8A-DE8D-4DC8-A350-2D9480B9C764}" type="parTrans" cxnId="{0CD7EE1F-DE5C-449D-AB0C-817F13A84A8F}">
      <dgm:prSet/>
      <dgm:spPr/>
      <dgm:t>
        <a:bodyPr/>
        <a:lstStyle/>
        <a:p>
          <a:endParaRPr lang="en-US"/>
        </a:p>
      </dgm:t>
    </dgm:pt>
    <dgm:pt modelId="{5BCA6FED-2FE8-433D-9124-8587B4B85870}" type="sibTrans" cxnId="{0CD7EE1F-DE5C-449D-AB0C-817F13A84A8F}">
      <dgm:prSet/>
      <dgm:spPr/>
      <dgm:t>
        <a:bodyPr/>
        <a:lstStyle/>
        <a:p>
          <a:endParaRPr lang="en-US"/>
        </a:p>
      </dgm:t>
    </dgm:pt>
    <dgm:pt modelId="{3BBDAA8E-F1E5-4CEE-8808-B09960867C24}">
      <dgm:prSet phldrT="[Text]" custT="1"/>
      <dgm:spPr/>
      <dgm:t>
        <a:bodyPr/>
        <a:lstStyle/>
        <a:p>
          <a:r>
            <a:rPr lang="en-US" sz="1400" b="1" dirty="0"/>
            <a:t>Testing Technical Skills </a:t>
          </a:r>
        </a:p>
        <a:p>
          <a:r>
            <a:rPr lang="en-US" sz="1400" dirty="0"/>
            <a:t>- Basic electronics knowledge</a:t>
          </a:r>
        </a:p>
        <a:p>
          <a:r>
            <a:rPr lang="en-US" sz="1400" dirty="0"/>
            <a:t>- Basic Testing knowledge</a:t>
          </a:r>
        </a:p>
      </dgm:t>
    </dgm:pt>
    <dgm:pt modelId="{BB1F151F-4125-40FF-8B6C-B3BFB0995EE3}" type="parTrans" cxnId="{A3C27A84-39A6-440D-A734-56A4C58205CF}">
      <dgm:prSet/>
      <dgm:spPr/>
      <dgm:t>
        <a:bodyPr/>
        <a:lstStyle/>
        <a:p>
          <a:endParaRPr lang="en-US"/>
        </a:p>
      </dgm:t>
    </dgm:pt>
    <dgm:pt modelId="{12DB82EB-FCA3-4FB0-9C33-B9B0FBFDB9C5}" type="sibTrans" cxnId="{A3C27A84-39A6-440D-A734-56A4C58205CF}">
      <dgm:prSet/>
      <dgm:spPr/>
      <dgm:t>
        <a:bodyPr/>
        <a:lstStyle/>
        <a:p>
          <a:endParaRPr lang="en-US"/>
        </a:p>
      </dgm:t>
    </dgm:pt>
    <dgm:pt modelId="{AB463625-F4AA-4F3C-A69E-367B151F16DF}">
      <dgm:prSet phldrT="[Text]" custT="1"/>
      <dgm:spPr/>
      <dgm:t>
        <a:bodyPr/>
        <a:lstStyle/>
        <a:p>
          <a:r>
            <a:rPr lang="en-US" sz="1200" b="1" dirty="0"/>
            <a:t>Software </a:t>
          </a:r>
          <a:r>
            <a:rPr lang="en-US" sz="1400" b="1" dirty="0"/>
            <a:t>Technical</a:t>
          </a:r>
          <a:r>
            <a:rPr lang="en-US" sz="1200" b="1" dirty="0"/>
            <a:t> Skills </a:t>
          </a:r>
        </a:p>
        <a:p>
          <a:r>
            <a:rPr lang="en-US" sz="1200" dirty="0"/>
            <a:t>- Basic knowledge of C embedded or C++ programming language </a:t>
          </a:r>
        </a:p>
        <a:p>
          <a:r>
            <a:rPr lang="en-US" sz="1200" dirty="0"/>
            <a:t>- Basic knowledge of microcontrollers </a:t>
          </a:r>
        </a:p>
      </dgm:t>
    </dgm:pt>
    <dgm:pt modelId="{18800D4C-454A-44A6-8014-548AA10E5BDC}" type="parTrans" cxnId="{1E82A290-1724-491B-854F-420764E50076}">
      <dgm:prSet/>
      <dgm:spPr/>
      <dgm:t>
        <a:bodyPr/>
        <a:lstStyle/>
        <a:p>
          <a:endParaRPr lang="en-US"/>
        </a:p>
      </dgm:t>
    </dgm:pt>
    <dgm:pt modelId="{0F15D6EA-4105-435D-B7E8-4D7764C0ADFF}" type="sibTrans" cxnId="{1E82A290-1724-491B-854F-420764E50076}">
      <dgm:prSet/>
      <dgm:spPr/>
      <dgm:t>
        <a:bodyPr/>
        <a:lstStyle/>
        <a:p>
          <a:endParaRPr lang="en-US"/>
        </a:p>
      </dgm:t>
    </dgm:pt>
    <dgm:pt modelId="{20156392-84DA-4907-BF75-875B0837C292}">
      <dgm:prSet phldrT="[Text]" custT="1"/>
      <dgm:spPr/>
      <dgm:t>
        <a:bodyPr/>
        <a:lstStyle/>
        <a:p>
          <a:r>
            <a:rPr lang="en-US" sz="1400" b="1" dirty="0"/>
            <a:t>General Skills</a:t>
          </a:r>
        </a:p>
        <a:p>
          <a:r>
            <a:rPr lang="en-US" sz="1400" dirty="0"/>
            <a:t>- Fast learning abilities </a:t>
          </a:r>
        </a:p>
        <a:p>
          <a:r>
            <a:rPr lang="en-US" sz="1400" dirty="0"/>
            <a:t>- Drive and Initiative</a:t>
          </a:r>
        </a:p>
        <a:p>
          <a:r>
            <a:rPr lang="en-US" sz="1400" dirty="0"/>
            <a:t>- Good command of English language </a:t>
          </a:r>
        </a:p>
        <a:p>
          <a:r>
            <a:rPr lang="en-US" sz="1400" dirty="0"/>
            <a:t> </a:t>
          </a:r>
        </a:p>
      </dgm:t>
    </dgm:pt>
    <dgm:pt modelId="{68025FB5-B98C-4D29-84C6-1DE9A0FCCEEF}" type="sibTrans" cxnId="{E9F47D11-CF9C-4DC9-BA8E-15AF9D5C738E}">
      <dgm:prSet/>
      <dgm:spPr/>
      <dgm:t>
        <a:bodyPr/>
        <a:lstStyle/>
        <a:p>
          <a:endParaRPr lang="en-US"/>
        </a:p>
      </dgm:t>
    </dgm:pt>
    <dgm:pt modelId="{98DE47BC-1092-43EE-BFD0-CCF62B9C666A}" type="parTrans" cxnId="{E9F47D11-CF9C-4DC9-BA8E-15AF9D5C738E}">
      <dgm:prSet/>
      <dgm:spPr/>
      <dgm:t>
        <a:bodyPr/>
        <a:lstStyle/>
        <a:p>
          <a:endParaRPr lang="en-US"/>
        </a:p>
      </dgm:t>
    </dgm:pt>
    <dgm:pt modelId="{A19850C6-AC97-4F09-8195-1D2FF8710F7F}" type="pres">
      <dgm:prSet presAssocID="{98B0012B-533E-4F5A-83D9-4C1E54295054}" presName="Name0" presStyleCnt="0">
        <dgm:presLayoutVars>
          <dgm:dir/>
          <dgm:resizeHandles val="exact"/>
        </dgm:presLayoutVars>
      </dgm:prSet>
      <dgm:spPr/>
    </dgm:pt>
    <dgm:pt modelId="{A7E09597-8E8F-43BE-8B16-4515AD150F34}" type="pres">
      <dgm:prSet presAssocID="{20156392-84DA-4907-BF75-875B0837C292}" presName="composite" presStyleCnt="0"/>
      <dgm:spPr/>
    </dgm:pt>
    <dgm:pt modelId="{72CEF3D2-8DA4-4248-B6EB-35FC8BD2EB37}" type="pres">
      <dgm:prSet presAssocID="{20156392-84DA-4907-BF75-875B0837C292}" presName="rect1" presStyleLbl="trAlignAcc1" presStyleIdx="0" presStyleCnt="4">
        <dgm:presLayoutVars>
          <dgm:bulletEnabled val="1"/>
        </dgm:presLayoutVars>
      </dgm:prSet>
      <dgm:spPr/>
    </dgm:pt>
    <dgm:pt modelId="{EF4C6D01-419E-400D-8776-D1930F095AE9}" type="pres">
      <dgm:prSet presAssocID="{20156392-84DA-4907-BF75-875B0837C292}" presName="rect2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DEACD8D6-0D8E-444C-9CE4-7B2852780A2C}" type="pres">
      <dgm:prSet presAssocID="{68025FB5-B98C-4D29-84C6-1DE9A0FCCEEF}" presName="sibTrans" presStyleCnt="0"/>
      <dgm:spPr/>
    </dgm:pt>
    <dgm:pt modelId="{B264F679-AC39-4295-86A5-1F1923E69AF8}" type="pres">
      <dgm:prSet presAssocID="{D242EC62-7A2F-4D7C-8CE0-214882C318EA}" presName="composite" presStyleCnt="0"/>
      <dgm:spPr/>
    </dgm:pt>
    <dgm:pt modelId="{7E530086-9404-472B-863B-7989DE5747A5}" type="pres">
      <dgm:prSet presAssocID="{D242EC62-7A2F-4D7C-8CE0-214882C318EA}" presName="rect1" presStyleLbl="trAlignAcc1" presStyleIdx="1" presStyleCnt="4">
        <dgm:presLayoutVars>
          <dgm:bulletEnabled val="1"/>
        </dgm:presLayoutVars>
      </dgm:prSet>
      <dgm:spPr/>
    </dgm:pt>
    <dgm:pt modelId="{C09ED759-30A7-44D6-BB32-558274AA3341}" type="pres">
      <dgm:prSet presAssocID="{D242EC62-7A2F-4D7C-8CE0-214882C318EA}" presName="rect2" presStyleLbl="fgImgPlac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7F167638-9058-4703-AFAB-1D2A9F655C0B}" type="pres">
      <dgm:prSet presAssocID="{5BCA6FED-2FE8-433D-9124-8587B4B85870}" presName="sibTrans" presStyleCnt="0"/>
      <dgm:spPr/>
    </dgm:pt>
    <dgm:pt modelId="{32ED110B-AAD8-4070-A6F3-413FBAF9AC70}" type="pres">
      <dgm:prSet presAssocID="{3BBDAA8E-F1E5-4CEE-8808-B09960867C24}" presName="composite" presStyleCnt="0"/>
      <dgm:spPr/>
    </dgm:pt>
    <dgm:pt modelId="{0E7708FD-92E8-42D9-BF32-03C534FA171A}" type="pres">
      <dgm:prSet presAssocID="{3BBDAA8E-F1E5-4CEE-8808-B09960867C24}" presName="rect1" presStyleLbl="trAlignAcc1" presStyleIdx="2" presStyleCnt="4">
        <dgm:presLayoutVars>
          <dgm:bulletEnabled val="1"/>
        </dgm:presLayoutVars>
      </dgm:prSet>
      <dgm:spPr/>
    </dgm:pt>
    <dgm:pt modelId="{383CCAB1-5400-4955-BF23-2FCFBF3C001A}" type="pres">
      <dgm:prSet presAssocID="{3BBDAA8E-F1E5-4CEE-8808-B09960867C24}" presName="rect2" presStyleLbl="fgImgPlac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Puzzle pieces"/>
        </a:ext>
      </dgm:extLst>
    </dgm:pt>
    <dgm:pt modelId="{6305C9C4-0397-4E68-AA95-BAFFEFFC399D}" type="pres">
      <dgm:prSet presAssocID="{12DB82EB-FCA3-4FB0-9C33-B9B0FBFDB9C5}" presName="sibTrans" presStyleCnt="0"/>
      <dgm:spPr/>
    </dgm:pt>
    <dgm:pt modelId="{D3ACA1AD-056B-4278-93E3-26B002B83919}" type="pres">
      <dgm:prSet presAssocID="{AB463625-F4AA-4F3C-A69E-367B151F16DF}" presName="composite" presStyleCnt="0"/>
      <dgm:spPr/>
    </dgm:pt>
    <dgm:pt modelId="{DB17876F-4BF1-4695-A610-7DDE9BDB0818}" type="pres">
      <dgm:prSet presAssocID="{AB463625-F4AA-4F3C-A69E-367B151F16DF}" presName="rect1" presStyleLbl="trAlignAcc1" presStyleIdx="3" presStyleCnt="4">
        <dgm:presLayoutVars>
          <dgm:bulletEnabled val="1"/>
        </dgm:presLayoutVars>
      </dgm:prSet>
      <dgm:spPr/>
    </dgm:pt>
    <dgm:pt modelId="{AA9B14CD-6475-4EE3-AF15-3E4F7D7A64C3}" type="pres">
      <dgm:prSet presAssocID="{AB463625-F4AA-4F3C-A69E-367B151F16DF}" presName="rect2" presStyleLbl="fgImgPlac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Workflow"/>
        </a:ext>
      </dgm:extLst>
    </dgm:pt>
  </dgm:ptLst>
  <dgm:cxnLst>
    <dgm:cxn modelId="{3DA80011-E73B-469B-99C4-227FBEEAA2E8}" type="presOf" srcId="{98B0012B-533E-4F5A-83D9-4C1E54295054}" destId="{A19850C6-AC97-4F09-8195-1D2FF8710F7F}" srcOrd="0" destOrd="0" presId="urn:microsoft.com/office/officeart/2008/layout/PictureStrips"/>
    <dgm:cxn modelId="{E9F47D11-CF9C-4DC9-BA8E-15AF9D5C738E}" srcId="{98B0012B-533E-4F5A-83D9-4C1E54295054}" destId="{20156392-84DA-4907-BF75-875B0837C292}" srcOrd="0" destOrd="0" parTransId="{98DE47BC-1092-43EE-BFD0-CCF62B9C666A}" sibTransId="{68025FB5-B98C-4D29-84C6-1DE9A0FCCEEF}"/>
    <dgm:cxn modelId="{D86BFD18-968F-4353-B414-F56F0EF6E428}" type="presOf" srcId="{3BBDAA8E-F1E5-4CEE-8808-B09960867C24}" destId="{0E7708FD-92E8-42D9-BF32-03C534FA171A}" srcOrd="0" destOrd="0" presId="urn:microsoft.com/office/officeart/2008/layout/PictureStrips"/>
    <dgm:cxn modelId="{0CD7EE1F-DE5C-449D-AB0C-817F13A84A8F}" srcId="{98B0012B-533E-4F5A-83D9-4C1E54295054}" destId="{D242EC62-7A2F-4D7C-8CE0-214882C318EA}" srcOrd="1" destOrd="0" parTransId="{F5D3DC8A-DE8D-4DC8-A350-2D9480B9C764}" sibTransId="{5BCA6FED-2FE8-433D-9124-8587B4B85870}"/>
    <dgm:cxn modelId="{596F7B33-ACDD-496C-B765-AD654700BB59}" type="presOf" srcId="{AB463625-F4AA-4F3C-A69E-367B151F16DF}" destId="{DB17876F-4BF1-4695-A610-7DDE9BDB0818}" srcOrd="0" destOrd="0" presId="urn:microsoft.com/office/officeart/2008/layout/PictureStrips"/>
    <dgm:cxn modelId="{A3C27A84-39A6-440D-A734-56A4C58205CF}" srcId="{98B0012B-533E-4F5A-83D9-4C1E54295054}" destId="{3BBDAA8E-F1E5-4CEE-8808-B09960867C24}" srcOrd="2" destOrd="0" parTransId="{BB1F151F-4125-40FF-8B6C-B3BFB0995EE3}" sibTransId="{12DB82EB-FCA3-4FB0-9C33-B9B0FBFDB9C5}"/>
    <dgm:cxn modelId="{1E82A290-1724-491B-854F-420764E50076}" srcId="{98B0012B-533E-4F5A-83D9-4C1E54295054}" destId="{AB463625-F4AA-4F3C-A69E-367B151F16DF}" srcOrd="3" destOrd="0" parTransId="{18800D4C-454A-44A6-8014-548AA10E5BDC}" sibTransId="{0F15D6EA-4105-435D-B7E8-4D7764C0ADFF}"/>
    <dgm:cxn modelId="{B6EA98DD-40F1-4BAC-BE92-D2F6DC592FA1}" type="presOf" srcId="{20156392-84DA-4907-BF75-875B0837C292}" destId="{72CEF3D2-8DA4-4248-B6EB-35FC8BD2EB37}" srcOrd="0" destOrd="0" presId="urn:microsoft.com/office/officeart/2008/layout/PictureStrips"/>
    <dgm:cxn modelId="{86E5B9E1-87D0-4ACE-A0C8-D2588D6D0632}" type="presOf" srcId="{D242EC62-7A2F-4D7C-8CE0-214882C318EA}" destId="{7E530086-9404-472B-863B-7989DE5747A5}" srcOrd="0" destOrd="0" presId="urn:microsoft.com/office/officeart/2008/layout/PictureStrips"/>
    <dgm:cxn modelId="{1CC884C3-4A52-49C7-A93C-E47462C674F5}" type="presParOf" srcId="{A19850C6-AC97-4F09-8195-1D2FF8710F7F}" destId="{A7E09597-8E8F-43BE-8B16-4515AD150F34}" srcOrd="0" destOrd="0" presId="urn:microsoft.com/office/officeart/2008/layout/PictureStrips"/>
    <dgm:cxn modelId="{9A9A1C8F-9A86-4580-865D-5B257F3CCBC3}" type="presParOf" srcId="{A7E09597-8E8F-43BE-8B16-4515AD150F34}" destId="{72CEF3D2-8DA4-4248-B6EB-35FC8BD2EB37}" srcOrd="0" destOrd="0" presId="urn:microsoft.com/office/officeart/2008/layout/PictureStrips"/>
    <dgm:cxn modelId="{3074BC95-C604-4DA2-A085-1343104CF961}" type="presParOf" srcId="{A7E09597-8E8F-43BE-8B16-4515AD150F34}" destId="{EF4C6D01-419E-400D-8776-D1930F095AE9}" srcOrd="1" destOrd="0" presId="urn:microsoft.com/office/officeart/2008/layout/PictureStrips"/>
    <dgm:cxn modelId="{DC6EFA85-FC8C-4A66-821F-9617578F370B}" type="presParOf" srcId="{A19850C6-AC97-4F09-8195-1D2FF8710F7F}" destId="{DEACD8D6-0D8E-444C-9CE4-7B2852780A2C}" srcOrd="1" destOrd="0" presId="urn:microsoft.com/office/officeart/2008/layout/PictureStrips"/>
    <dgm:cxn modelId="{85C65357-D1DC-492A-9143-289A9F44B667}" type="presParOf" srcId="{A19850C6-AC97-4F09-8195-1D2FF8710F7F}" destId="{B264F679-AC39-4295-86A5-1F1923E69AF8}" srcOrd="2" destOrd="0" presId="urn:microsoft.com/office/officeart/2008/layout/PictureStrips"/>
    <dgm:cxn modelId="{308058DD-66EE-4780-A044-CDAD8876794A}" type="presParOf" srcId="{B264F679-AC39-4295-86A5-1F1923E69AF8}" destId="{7E530086-9404-472B-863B-7989DE5747A5}" srcOrd="0" destOrd="0" presId="urn:microsoft.com/office/officeart/2008/layout/PictureStrips"/>
    <dgm:cxn modelId="{0D64C82E-7393-44F4-A192-11C2F11767C4}" type="presParOf" srcId="{B264F679-AC39-4295-86A5-1F1923E69AF8}" destId="{C09ED759-30A7-44D6-BB32-558274AA3341}" srcOrd="1" destOrd="0" presId="urn:microsoft.com/office/officeart/2008/layout/PictureStrips"/>
    <dgm:cxn modelId="{A818493C-AFB6-4C06-BC7D-256F340029EA}" type="presParOf" srcId="{A19850C6-AC97-4F09-8195-1D2FF8710F7F}" destId="{7F167638-9058-4703-AFAB-1D2A9F655C0B}" srcOrd="3" destOrd="0" presId="urn:microsoft.com/office/officeart/2008/layout/PictureStrips"/>
    <dgm:cxn modelId="{9C0439E6-6299-4DE1-BD98-778B49CFD383}" type="presParOf" srcId="{A19850C6-AC97-4F09-8195-1D2FF8710F7F}" destId="{32ED110B-AAD8-4070-A6F3-413FBAF9AC70}" srcOrd="4" destOrd="0" presId="urn:microsoft.com/office/officeart/2008/layout/PictureStrips"/>
    <dgm:cxn modelId="{345F5BBE-3C57-4578-831E-AEED66655A7A}" type="presParOf" srcId="{32ED110B-AAD8-4070-A6F3-413FBAF9AC70}" destId="{0E7708FD-92E8-42D9-BF32-03C534FA171A}" srcOrd="0" destOrd="0" presId="urn:microsoft.com/office/officeart/2008/layout/PictureStrips"/>
    <dgm:cxn modelId="{DE2DB6BA-7081-4FE8-83F3-744C0AE21C48}" type="presParOf" srcId="{32ED110B-AAD8-4070-A6F3-413FBAF9AC70}" destId="{383CCAB1-5400-4955-BF23-2FCFBF3C001A}" srcOrd="1" destOrd="0" presId="urn:microsoft.com/office/officeart/2008/layout/PictureStrips"/>
    <dgm:cxn modelId="{97D4D65D-5D95-41A2-8F31-AE75896524ED}" type="presParOf" srcId="{A19850C6-AC97-4F09-8195-1D2FF8710F7F}" destId="{6305C9C4-0397-4E68-AA95-BAFFEFFC399D}" srcOrd="5" destOrd="0" presId="urn:microsoft.com/office/officeart/2008/layout/PictureStrips"/>
    <dgm:cxn modelId="{11F117AD-4066-4877-9922-22174A579E01}" type="presParOf" srcId="{A19850C6-AC97-4F09-8195-1D2FF8710F7F}" destId="{D3ACA1AD-056B-4278-93E3-26B002B83919}" srcOrd="6" destOrd="0" presId="urn:microsoft.com/office/officeart/2008/layout/PictureStrips"/>
    <dgm:cxn modelId="{A718441B-85A9-4E9C-B534-0B7AC5812B64}" type="presParOf" srcId="{D3ACA1AD-056B-4278-93E3-26B002B83919}" destId="{DB17876F-4BF1-4695-A610-7DDE9BDB0818}" srcOrd="0" destOrd="0" presId="urn:microsoft.com/office/officeart/2008/layout/PictureStrips"/>
    <dgm:cxn modelId="{30D4F884-3ABF-4561-A247-17522FCF865A}" type="presParOf" srcId="{D3ACA1AD-056B-4278-93E3-26B002B83919}" destId="{AA9B14CD-6475-4EE3-AF15-3E4F7D7A64C3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1876C3-7833-47ED-AE2C-E2C347D5A5EA}">
      <dsp:nvSpPr>
        <dsp:cNvPr id="0" name=""/>
        <dsp:cNvSpPr/>
      </dsp:nvSpPr>
      <dsp:spPr>
        <a:xfrm>
          <a:off x="0" y="0"/>
          <a:ext cx="5868715" cy="14624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Project Management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Technical project management from acquisition to SOP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Proven records on discipline level (software, testing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Tracking of activiti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Error management</a:t>
          </a:r>
        </a:p>
      </dsp:txBody>
      <dsp:txXfrm>
        <a:off x="1319991" y="0"/>
        <a:ext cx="4548723" cy="1462484"/>
      </dsp:txXfrm>
    </dsp:sp>
    <dsp:sp modelId="{9239EDC3-59B2-46AA-962C-8AC12E952FAD}">
      <dsp:nvSpPr>
        <dsp:cNvPr id="0" name=""/>
        <dsp:cNvSpPr/>
      </dsp:nvSpPr>
      <dsp:spPr>
        <a:xfrm>
          <a:off x="146248" y="146248"/>
          <a:ext cx="1173743" cy="116998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000" r="-19000"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71B49E-90A2-4F8A-B7C2-9966AAC519FD}">
      <dsp:nvSpPr>
        <dsp:cNvPr id="0" name=""/>
        <dsp:cNvSpPr/>
      </dsp:nvSpPr>
      <dsp:spPr>
        <a:xfrm>
          <a:off x="0" y="1608732"/>
          <a:ext cx="5868715" cy="14624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Hardware Design &amp; Valida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Char char="••"/>
          </a:pPr>
          <a:r>
            <a:rPr lang="en-US" sz="1200" kern="1200"/>
            <a:t>Complete </a:t>
          </a:r>
          <a:r>
            <a:rPr lang="en-US" sz="1200" b="1" kern="1200"/>
            <a:t>design</a:t>
          </a:r>
          <a:r>
            <a:rPr lang="en-US" sz="1200" kern="1200"/>
            <a:t> according to OEM specific hardware requirement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Verification of electrical requirements according  to customer defini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/>
            <a:t>EMC / ESD </a:t>
          </a:r>
          <a:r>
            <a:rPr lang="en-US" sz="1200" kern="1200"/>
            <a:t>related validation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Product and design validation activities</a:t>
          </a:r>
        </a:p>
      </dsp:txBody>
      <dsp:txXfrm>
        <a:off x="1319991" y="1608732"/>
        <a:ext cx="4548723" cy="1462484"/>
      </dsp:txXfrm>
    </dsp:sp>
    <dsp:sp modelId="{86BCDFEE-699C-4834-9F3E-8349FE068DD6}">
      <dsp:nvSpPr>
        <dsp:cNvPr id="0" name=""/>
        <dsp:cNvSpPr/>
      </dsp:nvSpPr>
      <dsp:spPr>
        <a:xfrm>
          <a:off x="146248" y="1754981"/>
          <a:ext cx="1173743" cy="116998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</a:blip>
          <a:srcRect/>
          <a:stretch>
            <a:fillRect l="-35000" r="-35000"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BE335C-CED0-46B6-8678-CFA8C62E130E}">
      <dsp:nvSpPr>
        <dsp:cNvPr id="0" name=""/>
        <dsp:cNvSpPr/>
      </dsp:nvSpPr>
      <dsp:spPr>
        <a:xfrm>
          <a:off x="0" y="3217465"/>
          <a:ext cx="5868715" cy="14624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Mechanical Desig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Char char="•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Complete layout according to EMC/ESD rules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3D models</a:t>
          </a: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 using CATIA v5 under OEM specific environment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Thermal and structural simulation </a:t>
          </a:r>
        </a:p>
      </dsp:txBody>
      <dsp:txXfrm>
        <a:off x="1319991" y="3217465"/>
        <a:ext cx="4548723" cy="1462484"/>
      </dsp:txXfrm>
    </dsp:sp>
    <dsp:sp modelId="{60486ED1-B1B2-4168-B56E-F71B529DE019}">
      <dsp:nvSpPr>
        <dsp:cNvPr id="0" name=""/>
        <dsp:cNvSpPr/>
      </dsp:nvSpPr>
      <dsp:spPr>
        <a:xfrm>
          <a:off x="146248" y="3363714"/>
          <a:ext cx="1173743" cy="116998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</a:blip>
          <a:srcRect/>
          <a:stretch>
            <a:fillRect l="-35000" r="-35000"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48D7D-1631-42E7-A5DB-65B403B49FAD}">
      <dsp:nvSpPr>
        <dsp:cNvPr id="0" name=""/>
        <dsp:cNvSpPr/>
      </dsp:nvSpPr>
      <dsp:spPr>
        <a:xfrm>
          <a:off x="0" y="0"/>
          <a:ext cx="5652690" cy="147085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oftware Developmen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Char char="••"/>
          </a:pPr>
          <a:r>
            <a:rPr lang="en-US" sz="1200" b="1" kern="1200"/>
            <a:t>Application development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/>
            <a:t>Generic development &amp; integration for Lights func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Full range of </a:t>
          </a:r>
          <a:r>
            <a:rPr lang="en-US" sz="1200" b="1" kern="1200"/>
            <a:t>diagnostic</a:t>
          </a:r>
          <a:r>
            <a:rPr lang="en-US" sz="1200" kern="1200"/>
            <a:t> based on UDS (jobs &amp; tool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Project development based </a:t>
          </a:r>
          <a:r>
            <a:rPr lang="en-US" sz="1200" b="1" kern="1200"/>
            <a:t>AUTOSAR</a:t>
          </a:r>
          <a:r>
            <a:rPr lang="en-US" sz="1200" kern="1200"/>
            <a:t> 4.x platform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/>
            <a:t>Integration</a:t>
          </a:r>
          <a:r>
            <a:rPr lang="en-US" sz="1200" kern="1200"/>
            <a:t> of various </a:t>
          </a:r>
          <a:r>
            <a:rPr lang="en-US" sz="1200" b="1" kern="1200"/>
            <a:t>3</a:t>
          </a:r>
          <a:r>
            <a:rPr lang="en-US" sz="1200" b="1" kern="1200" baseline="30000"/>
            <a:t>rd</a:t>
          </a:r>
          <a:r>
            <a:rPr lang="en-US" sz="1200" b="1" kern="1200"/>
            <a:t> party software</a:t>
          </a:r>
          <a:r>
            <a:rPr lang="en-US" sz="1200" kern="1200"/>
            <a:t> (e.g. drivers, libs)</a:t>
          </a:r>
          <a:endParaRPr lang="en-US" sz="1200" b="1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/>
            <a:t>Model based development </a:t>
          </a:r>
          <a:r>
            <a:rPr lang="en-US" sz="1200" kern="1200"/>
            <a:t>(Matlab Simulink/Targetlink)</a:t>
          </a:r>
          <a:endParaRPr lang="en-US" sz="1200" b="1" kern="1200"/>
        </a:p>
      </dsp:txBody>
      <dsp:txXfrm>
        <a:off x="1277623" y="0"/>
        <a:ext cx="4375066" cy="1470856"/>
      </dsp:txXfrm>
    </dsp:sp>
    <dsp:sp modelId="{FB319FCB-95E0-46B0-8CD9-7AAD321D7697}">
      <dsp:nvSpPr>
        <dsp:cNvPr id="0" name=""/>
        <dsp:cNvSpPr/>
      </dsp:nvSpPr>
      <dsp:spPr>
        <a:xfrm>
          <a:off x="147085" y="147085"/>
          <a:ext cx="1130538" cy="11766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</a:blip>
          <a:srcRect/>
          <a:stretch>
            <a:fillRect l="-40000" r="-40000"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875F3E-E22D-4A7B-BAD1-FDDCD3A42FA0}">
      <dsp:nvSpPr>
        <dsp:cNvPr id="0" name=""/>
        <dsp:cNvSpPr/>
      </dsp:nvSpPr>
      <dsp:spPr>
        <a:xfrm>
          <a:off x="0" y="1617941"/>
          <a:ext cx="5652690" cy="147085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ystem Enginee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Char char="•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Requirement Engineering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System Architectur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Project Engineering for Safety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Requirements Managemen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Advanced Software Algorithm </a:t>
          </a:r>
        </a:p>
      </dsp:txBody>
      <dsp:txXfrm>
        <a:off x="1277623" y="1617941"/>
        <a:ext cx="4375066" cy="1470856"/>
      </dsp:txXfrm>
    </dsp:sp>
    <dsp:sp modelId="{5EA0340C-F92E-4832-B790-4C8A2E0956A1}">
      <dsp:nvSpPr>
        <dsp:cNvPr id="0" name=""/>
        <dsp:cNvSpPr/>
      </dsp:nvSpPr>
      <dsp:spPr>
        <a:xfrm>
          <a:off x="147085" y="1765027"/>
          <a:ext cx="1130538" cy="11766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 cstate="print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901289-B432-4446-8346-CF0CAFA32357}">
      <dsp:nvSpPr>
        <dsp:cNvPr id="0" name=""/>
        <dsp:cNvSpPr/>
      </dsp:nvSpPr>
      <dsp:spPr>
        <a:xfrm>
          <a:off x="0" y="3235883"/>
          <a:ext cx="5652690" cy="147085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ystem Test Enginee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Char char="••"/>
          </a:pPr>
          <a:r>
            <a:rPr lang="en-US" sz="12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Test automation</a:t>
          </a: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 in Python and other scripting solutions</a:t>
          </a:r>
          <a:endParaRPr lang="en-US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Test environment based on proprietary solution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Matlab/Simulink and TestStand/LabView implementations in tool chain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Various functionality under test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Lifetime tester design &amp; </a:t>
          </a:r>
          <a:r>
            <a:rPr lang="en-US" sz="12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</a:rPr>
            <a:t>PTS </a:t>
          </a:r>
          <a:endParaRPr lang="en-US" sz="1200" b="1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</a:endParaRPr>
        </a:p>
      </dsp:txBody>
      <dsp:txXfrm>
        <a:off x="1277623" y="3235883"/>
        <a:ext cx="4375066" cy="1470856"/>
      </dsp:txXfrm>
    </dsp:sp>
    <dsp:sp modelId="{4AAF8795-5730-48D3-AD85-519266F452F7}">
      <dsp:nvSpPr>
        <dsp:cNvPr id="0" name=""/>
        <dsp:cNvSpPr/>
      </dsp:nvSpPr>
      <dsp:spPr>
        <a:xfrm>
          <a:off x="147085" y="3382969"/>
          <a:ext cx="1130538" cy="1176685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 cstate="print">
            <a:duotone>
              <a:schemeClr val="dk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dk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0" r="-40000"/>
          </a:stretch>
        </a:blip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CEF3D2-8DA4-4248-B6EB-35FC8BD2EB37}">
      <dsp:nvSpPr>
        <dsp:cNvPr id="0" name=""/>
        <dsp:cNvSpPr/>
      </dsp:nvSpPr>
      <dsp:spPr>
        <a:xfrm>
          <a:off x="1282773" y="244246"/>
          <a:ext cx="4360118" cy="1362536"/>
        </a:xfrm>
        <a:prstGeom prst="rect">
          <a:avLst/>
        </a:prstGeom>
        <a:solidFill>
          <a:schemeClr val="lt2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2892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General Skills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- Fast learning abilities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- Drive and Initiative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- Good command of English language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 </a:t>
          </a:r>
        </a:p>
      </dsp:txBody>
      <dsp:txXfrm>
        <a:off x="1282773" y="244246"/>
        <a:ext cx="4360118" cy="1362536"/>
      </dsp:txXfrm>
    </dsp:sp>
    <dsp:sp modelId="{EF4C6D01-419E-400D-8776-D1930F095AE9}">
      <dsp:nvSpPr>
        <dsp:cNvPr id="0" name=""/>
        <dsp:cNvSpPr/>
      </dsp:nvSpPr>
      <dsp:spPr>
        <a:xfrm>
          <a:off x="1101101" y="47435"/>
          <a:ext cx="953775" cy="143066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530086-9404-472B-863B-7989DE5747A5}">
      <dsp:nvSpPr>
        <dsp:cNvPr id="0" name=""/>
        <dsp:cNvSpPr/>
      </dsp:nvSpPr>
      <dsp:spPr>
        <a:xfrm>
          <a:off x="5985176" y="244246"/>
          <a:ext cx="4360118" cy="1362536"/>
        </a:xfrm>
        <a:prstGeom prst="rect">
          <a:avLst/>
        </a:prstGeom>
        <a:solidFill>
          <a:schemeClr val="lt2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0578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Hardware Development Technical Skills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- Basic electronics knowledge </a:t>
          </a:r>
        </a:p>
      </dsp:txBody>
      <dsp:txXfrm>
        <a:off x="5985176" y="244246"/>
        <a:ext cx="4360118" cy="1362536"/>
      </dsp:txXfrm>
    </dsp:sp>
    <dsp:sp modelId="{C09ED759-30A7-44D6-BB32-558274AA3341}">
      <dsp:nvSpPr>
        <dsp:cNvPr id="0" name=""/>
        <dsp:cNvSpPr/>
      </dsp:nvSpPr>
      <dsp:spPr>
        <a:xfrm>
          <a:off x="5803504" y="47435"/>
          <a:ext cx="953775" cy="143066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7708FD-92E8-42D9-BF32-03C534FA171A}">
      <dsp:nvSpPr>
        <dsp:cNvPr id="0" name=""/>
        <dsp:cNvSpPr/>
      </dsp:nvSpPr>
      <dsp:spPr>
        <a:xfrm>
          <a:off x="1282773" y="1964206"/>
          <a:ext cx="4360118" cy="1362536"/>
        </a:xfrm>
        <a:prstGeom prst="rect">
          <a:avLst/>
        </a:prstGeom>
        <a:solidFill>
          <a:schemeClr val="lt2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0578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Testing Technical Skills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- Basic electronics knowledge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- Basic Testing knowledge</a:t>
          </a:r>
        </a:p>
      </dsp:txBody>
      <dsp:txXfrm>
        <a:off x="1282773" y="1964206"/>
        <a:ext cx="4360118" cy="1362536"/>
      </dsp:txXfrm>
    </dsp:sp>
    <dsp:sp modelId="{383CCAB1-5400-4955-BF23-2FCFBF3C001A}">
      <dsp:nvSpPr>
        <dsp:cNvPr id="0" name=""/>
        <dsp:cNvSpPr/>
      </dsp:nvSpPr>
      <dsp:spPr>
        <a:xfrm>
          <a:off x="1101101" y="1767395"/>
          <a:ext cx="953775" cy="143066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17876F-4BF1-4695-A610-7DDE9BDB0818}">
      <dsp:nvSpPr>
        <dsp:cNvPr id="0" name=""/>
        <dsp:cNvSpPr/>
      </dsp:nvSpPr>
      <dsp:spPr>
        <a:xfrm>
          <a:off x="5985176" y="1964206"/>
          <a:ext cx="4360118" cy="1362536"/>
        </a:xfrm>
        <a:prstGeom prst="rect">
          <a:avLst/>
        </a:prstGeom>
        <a:solidFill>
          <a:schemeClr val="lt2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0578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Software </a:t>
          </a:r>
          <a:r>
            <a:rPr lang="en-US" sz="1400" b="1" kern="1200" dirty="0"/>
            <a:t>Technical</a:t>
          </a:r>
          <a:r>
            <a:rPr lang="en-US" sz="1200" b="1" kern="1200" dirty="0"/>
            <a:t> Skills 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- Basic knowledge of C embedded or C++ programming language 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- Basic knowledge of microcontrollers </a:t>
          </a:r>
        </a:p>
      </dsp:txBody>
      <dsp:txXfrm>
        <a:off x="5985176" y="1964206"/>
        <a:ext cx="4360118" cy="1362536"/>
      </dsp:txXfrm>
    </dsp:sp>
    <dsp:sp modelId="{AA9B14CD-6475-4EE3-AF15-3E4F7D7A64C3}">
      <dsp:nvSpPr>
        <dsp:cNvPr id="0" name=""/>
        <dsp:cNvSpPr/>
      </dsp:nvSpPr>
      <dsp:spPr>
        <a:xfrm>
          <a:off x="5803504" y="1767395"/>
          <a:ext cx="953775" cy="143066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A1E44E9-D90A-47F3-A205-4ADC183411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A8CCFFF-0B95-4DAE-9CA8-3E1E5E50A3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28DA9D-29FC-4F77-A409-7D1E75189A11}" type="datetimeFigureOut">
              <a:rPr lang="en-US" smtClean="0"/>
              <a:t>4/20/2021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4819A0-8F17-478E-919B-5A001CA297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NAME OF THE PRESENTATION | MONTH DAY, YEA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0DD6D3-AD6F-4A7B-BFF5-2C8AFEFE557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02E2BA-6BD1-4508-ADF6-20F5D3E4F0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61387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37600" y="1143000"/>
            <a:ext cx="6382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237600" y="4400550"/>
            <a:ext cx="63828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5916852" y="8880438"/>
            <a:ext cx="70354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936245-46DC-4F78-9240-73487A30C36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A6B65CB-5A03-44AC-8FBB-32D53A48CA19}"/>
              </a:ext>
            </a:extLst>
          </p:cNvPr>
          <p:cNvSpPr/>
          <p:nvPr/>
        </p:nvSpPr>
        <p:spPr>
          <a:xfrm>
            <a:off x="237600" y="8880438"/>
            <a:ext cx="1285892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indent="0" algn="l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00" b="1" noProof="0" dirty="0">
                <a:solidFill>
                  <a:schemeClr val="tx1"/>
                </a:solidFill>
              </a:rPr>
              <a:t>OSRAM Continental </a:t>
            </a:r>
            <a:r>
              <a:rPr lang="en-US" sz="1000" b="0" noProof="0" dirty="0">
                <a:solidFill>
                  <a:schemeClr val="tx1"/>
                </a:solidFill>
              </a:rPr>
              <a:t>|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FA955E-ADF8-4806-87F9-84104833AA4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412776" y="8880438"/>
            <a:ext cx="450000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lvl1pPr>
              <a:defRPr lang="en-US" sz="1000" b="0" dirty="0"/>
            </a:lvl1pPr>
          </a:lstStyle>
          <a:p>
            <a:pPr>
              <a:buFont typeface="Arial" panose="020B0604020202020204" pitchFamily="34" charset="0"/>
              <a:buNone/>
            </a:pPr>
            <a:r>
              <a:rPr lang="en-US" dirty="0"/>
              <a:t>NAME OF THE PRESENTATION | MONTH DAY, YEAR</a:t>
            </a:r>
          </a:p>
        </p:txBody>
      </p:sp>
    </p:spTree>
    <p:extLst>
      <p:ext uri="{BB962C8B-B14F-4D97-AF65-F5344CB8AC3E}">
        <p14:creationId xmlns:p14="http://schemas.microsoft.com/office/powerpoint/2010/main" val="395963482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77" rtl="0" eaLnBrk="1" latinLnBrk="0" hangingPunct="1">
      <a:lnSpc>
        <a:spcPct val="100000"/>
      </a:lnSpc>
      <a:spcBef>
        <a:spcPts val="1200"/>
      </a:spcBef>
      <a:defRPr sz="1800" b="1" kern="1200" cap="all" baseline="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252000" indent="-252000" algn="l" defTabSz="914377" rtl="0" eaLnBrk="1" latinLnBrk="0" hangingPunct="1">
      <a:lnSpc>
        <a:spcPct val="100000"/>
      </a:lnSpc>
      <a:spcBef>
        <a:spcPts val="12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52000" indent="-252000" algn="l" defTabSz="914377" rtl="0" eaLnBrk="1" latinLnBrk="0" hangingPunct="1">
      <a:lnSpc>
        <a:spcPct val="90000"/>
      </a:lnSpc>
      <a:spcBef>
        <a:spcPts val="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252000" indent="-252000" algn="l" defTabSz="914377" rtl="0" eaLnBrk="1" latinLnBrk="0" hangingPunct="1">
      <a:lnSpc>
        <a:spcPct val="90000"/>
      </a:lnSpc>
      <a:spcBef>
        <a:spcPts val="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52000" indent="-252000" algn="l" defTabSz="914377" rtl="0" eaLnBrk="1" latinLnBrk="0" hangingPunct="1">
      <a:lnSpc>
        <a:spcPct val="90000"/>
      </a:lnSpc>
      <a:spcBef>
        <a:spcPts val="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/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onents are</a:t>
            </a:r>
            <a:r>
              <a:rPr lang="en-US" baseline="0" dirty="0"/>
              <a:t> not part of the Joint Venture, but the JV intends to offer solutions incl. OLED technology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D8264F-65BE-449E-A47F-E5881B8C21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1020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1020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87006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D8264F-65BE-449E-A47F-E5881B8C216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1020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1020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7699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4712" cy="3351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CD5AE8-B077-49EA-8F01-5B4042BFABD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3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9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09B164F-8A60-BB49-99E9-FEE1753A40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454"/>
            <a:ext cx="12189600" cy="68497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6800" y="1747015"/>
            <a:ext cx="11737975" cy="443198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laceholder for a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6800" y="2782800"/>
            <a:ext cx="11737975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Additional information</a:t>
            </a:r>
          </a:p>
        </p:txBody>
      </p:sp>
      <p:pic>
        <p:nvPicPr>
          <p:cNvPr id="120" name="Grafik 119">
            <a:extLst>
              <a:ext uri="{FF2B5EF4-FFF2-40B4-BE49-F238E27FC236}">
                <a16:creationId xmlns:a16="http://schemas.microsoft.com/office/drawing/2014/main" id="{519890E7-9E68-4FF2-AA1C-CC591E7E19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63022" y="224645"/>
            <a:ext cx="2330860" cy="465552"/>
          </a:xfrm>
          <a:prstGeom prst="rect">
            <a:avLst/>
          </a:prstGeom>
        </p:spPr>
      </p:pic>
      <p:sp>
        <p:nvSpPr>
          <p:cNvPr id="130" name="Textplatzhalter 129">
            <a:extLst>
              <a:ext uri="{FF2B5EF4-FFF2-40B4-BE49-F238E27FC236}">
                <a16:creationId xmlns:a16="http://schemas.microsoft.com/office/drawing/2014/main" id="{0741E723-AD7C-4F89-9957-76A02216D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00" y="2197356"/>
            <a:ext cx="1173797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200" b="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holder for a </a:t>
            </a:r>
            <a:r>
              <a:rPr lang="en-US" dirty="0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75886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7632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dex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AE2608C-3282-445B-B583-0DD9D42ADC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6800" y="1736725"/>
            <a:ext cx="11738188" cy="4679950"/>
          </a:xfrm>
        </p:spPr>
        <p:txBody>
          <a:bodyPr/>
          <a:lstStyle>
            <a:lvl1pPr marL="342900" indent="-3429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cap="none" baseline="0"/>
            </a:lvl1pPr>
            <a:lvl2pPr marL="546100" indent="-204788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cap="none" baseline="0"/>
            </a:lvl2pPr>
            <a:lvl3pPr marL="342900" indent="-342900">
              <a:buFont typeface="+mj-lt"/>
              <a:buAutoNum type="arabicPeriod"/>
              <a:defRPr b="1" cap="none" baseline="0"/>
            </a:lvl3pPr>
            <a:lvl4pPr marL="342900" indent="-342900">
              <a:buFont typeface="+mj-lt"/>
              <a:buAutoNum type="arabicPeriod"/>
              <a:defRPr b="1" cap="none" baseline="0"/>
            </a:lvl4pPr>
            <a:lvl5pPr marL="342900" indent="-342900">
              <a:buFont typeface="+mj-lt"/>
              <a:buAutoNum type="arabicPeriod"/>
              <a:defRPr b="1" cap="none" baseline="0"/>
            </a:lvl5pPr>
          </a:lstStyle>
          <a:p>
            <a:pPr lvl="0"/>
            <a:r>
              <a:rPr lang="en-US" noProof="0" dirty="0"/>
              <a:t>Chapter title </a:t>
            </a:r>
          </a:p>
          <a:p>
            <a:pPr lvl="1"/>
            <a:r>
              <a:rPr lang="en-US" noProof="0" dirty="0"/>
              <a:t>Sub-Chapter</a:t>
            </a:r>
          </a:p>
        </p:txBody>
      </p:sp>
    </p:spTree>
    <p:extLst>
      <p:ext uri="{BB962C8B-B14F-4D97-AF65-F5344CB8AC3E}">
        <p14:creationId xmlns:p14="http://schemas.microsoft.com/office/powerpoint/2010/main" val="3293263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AE73209-0C55-0D49-9943-11E628EFFF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069"/>
          <a:stretch/>
        </p:blipFill>
        <p:spPr>
          <a:xfrm>
            <a:off x="2400" y="0"/>
            <a:ext cx="121896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37600" y="1746000"/>
            <a:ext cx="11737975" cy="443198"/>
          </a:xfrm>
          <a:prstGeom prst="rect">
            <a:avLst/>
          </a:prstGeom>
        </p:spPr>
        <p:txBody>
          <a:bodyPr anchor="b"/>
          <a:lstStyle>
            <a:lvl1pPr marL="432000" indent="-432000" algn="l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ivider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CCC42E5-6A62-43D0-818E-EA2280CEE66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37600" y="2196000"/>
            <a:ext cx="11737974" cy="443198"/>
          </a:xfrm>
        </p:spPr>
        <p:txBody>
          <a:bodyPr wrap="square" lIns="43200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200" b="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Divider</a:t>
            </a:r>
            <a:r>
              <a:rPr lang="en-US" noProof="0" dirty="0"/>
              <a:t> Sub-text</a:t>
            </a:r>
          </a:p>
        </p:txBody>
      </p:sp>
    </p:spTree>
    <p:extLst>
      <p:ext uri="{BB962C8B-B14F-4D97-AF65-F5344CB8AC3E}">
        <p14:creationId xmlns:p14="http://schemas.microsoft.com/office/powerpoint/2010/main" val="4024780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3788A51-7859-E240-96C2-30C5DE14F6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105"/>
            <a:ext cx="12192000" cy="68537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37600" y="287141"/>
            <a:ext cx="11737975" cy="1107996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lang="en-GB" sz="9000" b="1" i="0" u="none" strike="noStrike" cap="all" baseline="0" smtClean="0"/>
            </a:lvl1pPr>
          </a:lstStyle>
          <a:p>
            <a:pPr lvl="0"/>
            <a:r>
              <a:rPr lang="en-US" sz="9000" b="1" i="0" u="none" strike="noStrike" baseline="0" dirty="0">
                <a:solidFill>
                  <a:srgbClr val="FFFFFF"/>
                </a:solidFill>
                <a:latin typeface="Arial-BoldMT"/>
              </a:rPr>
              <a:t>Statemen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1449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8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21628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B0D84E0-3CA8-4F15-8CFB-FB17F7CE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" y="1736725"/>
            <a:ext cx="11737975" cy="46799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21628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8211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B0D84E0-3CA8-4F15-8CFB-FB17F7CE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" y="1736725"/>
            <a:ext cx="11737975" cy="4679950"/>
          </a:xfrm>
        </p:spPr>
        <p:txBody>
          <a:bodyPr/>
          <a:lstStyle>
            <a:lvl1pPr marL="252000" indent="-252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cap="none" baseline="0"/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2517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0D5DA754-CE69-498F-B483-3002735837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6800" y="1736725"/>
            <a:ext cx="5774400" cy="4679950"/>
          </a:xfrm>
          <a:ln>
            <a:solidFill>
              <a:schemeClr val="tx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A1A6AC0-4AC1-400F-991D-AD1BAA916A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50" y="1736725"/>
            <a:ext cx="5773738" cy="4679950"/>
          </a:xfrm>
          <a:ln>
            <a:solidFill>
              <a:schemeClr val="tx1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12354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28509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AC8F7E5-4DEB-4884-8A51-9BA8A9D79F9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96688" y="0"/>
            <a:ext cx="12288688" cy="6858000"/>
          </a:xfrm>
          <a:solidFill>
            <a:schemeClr val="bg2"/>
          </a:solidFill>
        </p:spPr>
        <p:txBody>
          <a:bodyPr tIns="0" rIns="216000"/>
          <a:lstStyle>
            <a:lvl1pPr algn="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11738188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0" y="583200"/>
            <a:ext cx="11738187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13850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itle and pictur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AC8F7E5-4DEB-4884-8A51-9BA8A9D79F9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0" rIns="216000"/>
          <a:lstStyle>
            <a:lvl1pPr algn="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5869201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</p:spTree>
    <p:extLst>
      <p:ext uri="{BB962C8B-B14F-4D97-AF65-F5344CB8AC3E}">
        <p14:creationId xmlns:p14="http://schemas.microsoft.com/office/powerpoint/2010/main" val="38250325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5773950" cy="492443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B0D84E0-3CA8-4F15-8CFB-FB17F7CE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0" y="1736725"/>
            <a:ext cx="5773738" cy="46799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AC8F7E5-4DEB-4884-8A51-9BA8A9D79F9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91250" y="0"/>
            <a:ext cx="6000750" cy="6858000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0ADB42CC-525A-E049-8795-66BB482F80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5773737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5153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768A8D2-9DBA-B34D-AF29-67911AECF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55" b="9614"/>
          <a:stretch/>
        </p:blipFill>
        <p:spPr>
          <a:xfrm>
            <a:off x="2400" y="0"/>
            <a:ext cx="121896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6800" y="1747015"/>
            <a:ext cx="11737975" cy="443198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laceholder for a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6800" y="2782800"/>
            <a:ext cx="11737975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Additional information</a:t>
            </a:r>
          </a:p>
        </p:txBody>
      </p:sp>
      <p:pic>
        <p:nvPicPr>
          <p:cNvPr id="120" name="Grafik 119">
            <a:extLst>
              <a:ext uri="{FF2B5EF4-FFF2-40B4-BE49-F238E27FC236}">
                <a16:creationId xmlns:a16="http://schemas.microsoft.com/office/drawing/2014/main" id="{519890E7-9E68-4FF2-AA1C-CC591E7E19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63022" y="224645"/>
            <a:ext cx="2330860" cy="465552"/>
          </a:xfrm>
          <a:prstGeom prst="rect">
            <a:avLst/>
          </a:prstGeom>
        </p:spPr>
      </p:pic>
      <p:sp>
        <p:nvSpPr>
          <p:cNvPr id="130" name="Textplatzhalter 129">
            <a:extLst>
              <a:ext uri="{FF2B5EF4-FFF2-40B4-BE49-F238E27FC236}">
                <a16:creationId xmlns:a16="http://schemas.microsoft.com/office/drawing/2014/main" id="{0741E723-AD7C-4F89-9957-76A02216D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00" y="2197356"/>
            <a:ext cx="1173797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200" b="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holder for a </a:t>
            </a:r>
            <a:r>
              <a:rPr lang="en-US" dirty="0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0160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4716AC1-1E4A-4E7B-AA2B-378670084D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26800" y="1736726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2580B210-4C87-49B2-A93B-C62EF9DF2C1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26800" y="4171951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256D3D-09AC-435C-8DA9-BAA8D103B4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13759" y="1736725"/>
            <a:ext cx="7740115" cy="2244725"/>
          </a:xfrm>
        </p:spPr>
        <p:txBody>
          <a:bodyPr/>
          <a:lstStyle>
            <a:lvl1pPr marL="252000" indent="-252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cap="none" baseline="0"/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EEC5C92-4188-4E62-BBEF-5DCC822B74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13758" y="4171951"/>
            <a:ext cx="7740115" cy="2244725"/>
          </a:xfrm>
        </p:spPr>
        <p:txBody>
          <a:bodyPr/>
          <a:lstStyle>
            <a:lvl1pPr marL="252000" indent="-252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cap="none"/>
            </a:lvl1pPr>
            <a:lvl2pPr marL="252000" indent="-252000">
              <a:lnSpc>
                <a:spcPct val="90000"/>
              </a:lnSpc>
              <a:spcBef>
                <a:spcPts val="0"/>
              </a:spcBef>
              <a:defRPr b="0" cap="none"/>
            </a:lvl2pPr>
            <a:lvl3pPr marL="252000" indent="-252000">
              <a:lnSpc>
                <a:spcPct val="90000"/>
              </a:lnSpc>
              <a:spcBef>
                <a:spcPts val="0"/>
              </a:spcBef>
              <a:defRPr b="0" cap="none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1067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59F5F02-A69F-4A71-BAEB-F79CDAB906B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6800" y="1736725"/>
            <a:ext cx="5773950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24DFD55B-493E-4330-8810-96CE0E29C0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99288" y="1736725"/>
            <a:ext cx="5773950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F557B03-6B23-431B-B835-F9FFDCCF10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7013" y="4171951"/>
            <a:ext cx="5773737" cy="2244725"/>
          </a:xfrm>
        </p:spPr>
        <p:txBody>
          <a:bodyPr/>
          <a:lstStyle>
            <a:lvl1pPr marL="252000" indent="-252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cap="none"/>
            </a:lvl1pPr>
            <a:lvl2pPr marL="252000" indent="-252000">
              <a:lnSpc>
                <a:spcPct val="90000"/>
              </a:lnSpc>
              <a:spcBef>
                <a:spcPts val="0"/>
              </a:spcBef>
              <a:defRPr b="0" cap="none"/>
            </a:lvl2pPr>
            <a:lvl3pPr marL="252000" indent="-252000">
              <a:lnSpc>
                <a:spcPct val="90000"/>
              </a:lnSpc>
              <a:spcBef>
                <a:spcPts val="0"/>
              </a:spcBef>
              <a:defRPr b="0" cap="none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8BC11F2-FEC0-4405-A3DD-36C031120F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9188" y="4171950"/>
            <a:ext cx="5773737" cy="2244725"/>
          </a:xfrm>
        </p:spPr>
        <p:txBody>
          <a:bodyPr/>
          <a:lstStyle>
            <a:lvl1pPr marL="252000" indent="-252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cap="none"/>
            </a:lvl1pPr>
            <a:lvl2pPr marL="252000" indent="-252000">
              <a:lnSpc>
                <a:spcPct val="90000"/>
              </a:lnSpc>
              <a:spcBef>
                <a:spcPts val="0"/>
              </a:spcBef>
              <a:defRPr b="0" cap="none"/>
            </a:lvl2pPr>
            <a:lvl3pPr marL="252000" indent="-252000">
              <a:lnSpc>
                <a:spcPct val="90000"/>
              </a:lnSpc>
              <a:spcBef>
                <a:spcPts val="0"/>
              </a:spcBef>
              <a:defRPr b="0" cap="none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6429DFD0-CBE0-40EF-BCFF-5404B782A4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C4D69A3-7805-40C7-B1AA-3192E0731B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</p:spTree>
    <p:extLst>
      <p:ext uri="{BB962C8B-B14F-4D97-AF65-F5344CB8AC3E}">
        <p14:creationId xmlns:p14="http://schemas.microsoft.com/office/powerpoint/2010/main" val="4777307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4716AC1-1E4A-4E7B-AA2B-378670084D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26800" y="1736726"/>
            <a:ext cx="7761816" cy="4679950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9F8F7E5-B05C-4D30-8277-23DB5091785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89916" y="1736725"/>
            <a:ext cx="3760671" cy="4679949"/>
          </a:xfrm>
        </p:spPr>
        <p:txBody>
          <a:bodyPr/>
          <a:lstStyle>
            <a:lvl1pPr marL="252000" indent="-2520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cap="none"/>
            </a:lvl1pPr>
            <a:lvl2pPr marL="252000" indent="-252000">
              <a:lnSpc>
                <a:spcPct val="90000"/>
              </a:lnSpc>
              <a:spcBef>
                <a:spcPts val="0"/>
              </a:spcBef>
              <a:defRPr b="0" cap="none"/>
            </a:lvl2pPr>
            <a:lvl3pPr marL="252000" indent="-252000">
              <a:lnSpc>
                <a:spcPct val="90000"/>
              </a:lnSpc>
              <a:spcBef>
                <a:spcPts val="0"/>
              </a:spcBef>
              <a:defRPr b="0" cap="none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70515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4716AC1-1E4A-4E7B-AA2B-378670084D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26800" y="1736726"/>
            <a:ext cx="7761816" cy="4679950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29A14749-2F4D-4B48-A008-33F30E031FA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9917" y="1736726"/>
            <a:ext cx="3785658" cy="4679950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6798459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32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32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4716AC1-1E4A-4E7B-AA2B-378670084D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26800" y="1736726"/>
            <a:ext cx="7761816" cy="4679950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29A14749-2F4D-4B48-A008-33F30E031FA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9917" y="1736726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9E1B7188-2814-4960-A44F-256E295C432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89917" y="4171951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62956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4716AC1-1E4A-4E7B-AA2B-378670084D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26800" y="1736726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2580B210-4C87-49B2-A93B-C62EF9DF2C1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26800" y="4171951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F0067C04-3BAE-4764-BD88-557DFFC487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13759" y="1736726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C04FBAB8-0D58-4F95-B9FE-27C177262F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3759" y="4171951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29A14749-2F4D-4B48-A008-33F30E031FA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9917" y="1736726"/>
            <a:ext cx="3785658" cy="4679950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6311624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94716AC1-1E4A-4E7B-AA2B-378670084D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26800" y="1736726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8" name="Bildplatzhalter 5">
            <a:extLst>
              <a:ext uri="{FF2B5EF4-FFF2-40B4-BE49-F238E27FC236}">
                <a16:creationId xmlns:a16="http://schemas.microsoft.com/office/drawing/2014/main" id="{2580B210-4C87-49B2-A93B-C62EF9DF2C1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26800" y="4171951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F0067C04-3BAE-4764-BD88-557DFFC487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13759" y="1736726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C04FBAB8-0D58-4F95-B9FE-27C177262F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13759" y="4171951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29A14749-2F4D-4B48-A008-33F30E031FA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9917" y="1736726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9E1B7188-2814-4960-A44F-256E295C432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89917" y="4171951"/>
            <a:ext cx="3785658" cy="2244725"/>
          </a:xfrm>
          <a:solidFill>
            <a:schemeClr val="bg2"/>
          </a:solidFill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0779854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1B1D0B2A-412A-4891-9AC1-6E652EED1646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227013" y="2271266"/>
            <a:ext cx="11737975" cy="3998559"/>
          </a:xfrm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Graph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B0D84E0-3CA8-4F15-8CFB-FB17F7CE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1" y="1736725"/>
            <a:ext cx="11727387" cy="276999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Graph head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A6DF6BA-D50F-4CF7-8B4C-1EC796B280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013" y="6306264"/>
            <a:ext cx="11737975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noProof="0" dirty="0"/>
              <a:t>* Space for Footnote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E1717B-030E-4DCE-8D09-8166E4A58B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6799" y="2050162"/>
            <a:ext cx="11727387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 b="0" cap="none" baseline="0"/>
            </a:lvl1pPr>
          </a:lstStyle>
          <a:p>
            <a:pPr lvl="0"/>
            <a:r>
              <a:rPr lang="en-US" noProof="0" dirty="0"/>
              <a:t>Value unit</a:t>
            </a:r>
          </a:p>
        </p:txBody>
      </p:sp>
    </p:spTree>
    <p:extLst>
      <p:ext uri="{BB962C8B-B14F-4D97-AF65-F5344CB8AC3E}">
        <p14:creationId xmlns:p14="http://schemas.microsoft.com/office/powerpoint/2010/main" val="3808805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1B1D0B2A-412A-4891-9AC1-6E652EED1646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227013" y="2271266"/>
            <a:ext cx="5773737" cy="3998559"/>
          </a:xfrm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Graph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6000" cy="4431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laceholder slide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B0D84E0-3CA8-4F15-8CFB-FB17F7CEF3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801" y="1736725"/>
            <a:ext cx="5773737" cy="276999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Graph headlin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F24A6D7-EA87-42B3-99EB-85B65DB349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6801" y="583200"/>
            <a:ext cx="9756000" cy="443198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defRPr lang="de-DE" sz="32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</a:pPr>
            <a:r>
              <a:rPr lang="en-US" noProof="0" dirty="0"/>
              <a:t>Placeholder </a:t>
            </a:r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A6DF6BA-D50F-4CF7-8B4C-1EC796B280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013" y="6306264"/>
            <a:ext cx="577440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noProof="0" dirty="0"/>
              <a:t>* Space for Footnote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9E1717B-030E-4DCE-8D09-8166E4A58B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6799" y="2050162"/>
            <a:ext cx="5773737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 b="0" cap="none" baseline="0"/>
            </a:lvl1pPr>
          </a:lstStyle>
          <a:p>
            <a:pPr lvl="0"/>
            <a:r>
              <a:rPr lang="en-US" noProof="0" dirty="0"/>
              <a:t>Value unit</a:t>
            </a:r>
          </a:p>
        </p:txBody>
      </p:sp>
      <p:sp>
        <p:nvSpPr>
          <p:cNvPr id="11" name="Diagrammplatzhalter 5">
            <a:extLst>
              <a:ext uri="{FF2B5EF4-FFF2-40B4-BE49-F238E27FC236}">
                <a16:creationId xmlns:a16="http://schemas.microsoft.com/office/drawing/2014/main" id="{8277DAC1-1848-4322-A5DD-1F515E7265E1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6191252" y="2271266"/>
            <a:ext cx="5773523" cy="3998559"/>
          </a:xfrm>
        </p:spPr>
        <p:txBody>
          <a:bodyPr/>
          <a:lstStyle>
            <a:lvl1pPr algn="ctr">
              <a:spcBef>
                <a:spcPts val="0"/>
              </a:spcBef>
              <a:defRPr b="0"/>
            </a:lvl1pPr>
          </a:lstStyle>
          <a:p>
            <a:r>
              <a:rPr lang="en-US" dirty="0"/>
              <a:t>Graph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231DDE9D-67C0-42E8-9E36-4706C758BE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1252" y="1736725"/>
            <a:ext cx="5773737" cy="276999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Graph headline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C8F36800-6E97-4E93-8416-923A5E179F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1252" y="2050162"/>
            <a:ext cx="5773737" cy="184666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200" b="0" cap="none" baseline="0"/>
            </a:lvl1pPr>
          </a:lstStyle>
          <a:p>
            <a:pPr lvl="0"/>
            <a:r>
              <a:rPr lang="en-US" noProof="0" dirty="0"/>
              <a:t>Value unit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E9B8CED-6714-4804-9AFB-C5672A07D8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1252" y="6306264"/>
            <a:ext cx="577440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noProof="0" dirty="0"/>
              <a:t>* Space for Footnotes</a:t>
            </a:r>
          </a:p>
        </p:txBody>
      </p:sp>
    </p:spTree>
    <p:extLst>
      <p:ext uri="{BB962C8B-B14F-4D97-AF65-F5344CB8AC3E}">
        <p14:creationId xmlns:p14="http://schemas.microsoft.com/office/powerpoint/2010/main" val="3384114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11727388" cy="1246495"/>
          </a:xfrm>
        </p:spPr>
        <p:txBody>
          <a:bodyPr>
            <a:spAutoFit/>
          </a:bodyPr>
          <a:lstStyle>
            <a:lvl1pPr>
              <a:defRPr sz="9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!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C381ED-541D-4EC8-87B0-7ECDF90D21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4A41709-F38A-49AA-8778-AD753C6DE1D0}"/>
              </a:ext>
            </a:extLst>
          </p:cNvPr>
          <p:cNvSpPr/>
          <p:nvPr userDrawn="1"/>
        </p:nvSpPr>
        <p:spPr>
          <a:xfrm>
            <a:off x="237600" y="6562800"/>
            <a:ext cx="1285892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indent="0" algn="l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1000" b="1" noProof="0" dirty="0">
                <a:solidFill>
                  <a:schemeClr val="bg1"/>
                </a:solidFill>
              </a:rPr>
              <a:t>OSRAM Continental </a:t>
            </a:r>
            <a:r>
              <a:rPr lang="en-US" sz="1000" b="0" noProof="0" dirty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6BF02C6-50CA-4CF0-BA5C-1093DF559BBA}"/>
              </a:ext>
            </a:extLst>
          </p:cNvPr>
          <p:cNvSpPr/>
          <p:nvPr userDrawn="1"/>
        </p:nvSpPr>
        <p:spPr>
          <a:xfrm>
            <a:off x="1492250" y="6562800"/>
            <a:ext cx="9756012" cy="153888"/>
          </a:xfrm>
          <a:prstGeom prst="rect">
            <a:avLst/>
          </a:prstGeom>
        </p:spPr>
        <p:txBody>
          <a:bodyPr vert="horz" wrap="square" lIns="54000" tIns="0" rIns="0" bIns="0" rtlCol="0" anchor="ctr">
            <a:spAutoFit/>
          </a:bodyPr>
          <a:lstStyle/>
          <a:p>
            <a:pPr lvl="0"/>
            <a:r>
              <a:rPr lang="en-US" sz="1000" dirty="0">
                <a:solidFill>
                  <a:schemeClr val="bg1"/>
                </a:solidFill>
              </a:rPr>
              <a:t>Name of the Presentation, Month Day, Year</a:t>
            </a:r>
          </a:p>
        </p:txBody>
      </p:sp>
    </p:spTree>
    <p:extLst>
      <p:ext uri="{BB962C8B-B14F-4D97-AF65-F5344CB8AC3E}">
        <p14:creationId xmlns:p14="http://schemas.microsoft.com/office/powerpoint/2010/main" val="34932809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25BBD85-130F-024A-A361-57EFABBC02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99"/>
            <a:ext cx="12192000" cy="68566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6800" y="1747015"/>
            <a:ext cx="11737975" cy="443198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laceholder for a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6800" y="2782800"/>
            <a:ext cx="11737975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Additional information</a:t>
            </a:r>
          </a:p>
        </p:txBody>
      </p:sp>
      <p:pic>
        <p:nvPicPr>
          <p:cNvPr id="120" name="Grafik 119">
            <a:extLst>
              <a:ext uri="{FF2B5EF4-FFF2-40B4-BE49-F238E27FC236}">
                <a16:creationId xmlns:a16="http://schemas.microsoft.com/office/drawing/2014/main" id="{519890E7-9E68-4FF2-AA1C-CC591E7E19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63022" y="224645"/>
            <a:ext cx="2330860" cy="465552"/>
          </a:xfrm>
          <a:prstGeom prst="rect">
            <a:avLst/>
          </a:prstGeom>
        </p:spPr>
      </p:pic>
      <p:sp>
        <p:nvSpPr>
          <p:cNvPr id="130" name="Textplatzhalter 129">
            <a:extLst>
              <a:ext uri="{FF2B5EF4-FFF2-40B4-BE49-F238E27FC236}">
                <a16:creationId xmlns:a16="http://schemas.microsoft.com/office/drawing/2014/main" id="{0741E723-AD7C-4F89-9957-76A02216D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00" y="2197356"/>
            <a:ext cx="1173797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200" b="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holder for a </a:t>
            </a:r>
            <a:r>
              <a:rPr lang="en-US" dirty="0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044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7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7" y="1592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6800" y="144000"/>
            <a:ext cx="11727386" cy="306751"/>
          </a:xfrm>
        </p:spPr>
        <p:txBody>
          <a:bodyPr/>
          <a:lstStyle>
            <a:lvl1pPr>
              <a:defRPr sz="2215"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66930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7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7" y="1592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969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7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7" y="1592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26800" y="144000"/>
            <a:ext cx="11727386" cy="306751"/>
          </a:xfrm>
        </p:spPr>
        <p:txBody>
          <a:bodyPr/>
          <a:lstStyle>
            <a:lvl1pPr>
              <a:defRPr sz="2215"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ay 1 Ceremony|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1C381ED-541D-4EC8-87B0-7ECDF90D21F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3884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19F65D0-4AB8-124C-AF88-281C5A4B4A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9"/>
            <a:ext cx="12192000" cy="68567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6800" y="1747015"/>
            <a:ext cx="11737975" cy="443198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laceholder for a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6800" y="2782800"/>
            <a:ext cx="11737975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Additional information</a:t>
            </a:r>
          </a:p>
        </p:txBody>
      </p:sp>
      <p:pic>
        <p:nvPicPr>
          <p:cNvPr id="120" name="Grafik 119">
            <a:extLst>
              <a:ext uri="{FF2B5EF4-FFF2-40B4-BE49-F238E27FC236}">
                <a16:creationId xmlns:a16="http://schemas.microsoft.com/office/drawing/2014/main" id="{519890E7-9E68-4FF2-AA1C-CC591E7E19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63022" y="224645"/>
            <a:ext cx="2330860" cy="465552"/>
          </a:xfrm>
          <a:prstGeom prst="rect">
            <a:avLst/>
          </a:prstGeom>
        </p:spPr>
      </p:pic>
      <p:sp>
        <p:nvSpPr>
          <p:cNvPr id="130" name="Textplatzhalter 129">
            <a:extLst>
              <a:ext uri="{FF2B5EF4-FFF2-40B4-BE49-F238E27FC236}">
                <a16:creationId xmlns:a16="http://schemas.microsoft.com/office/drawing/2014/main" id="{0741E723-AD7C-4F89-9957-76A02216D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00" y="2197356"/>
            <a:ext cx="1173797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200" b="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holder for a </a:t>
            </a:r>
            <a:r>
              <a:rPr lang="en-US" dirty="0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12830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5529107-C3BB-0748-A39A-69F6C2E2F1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7" y="0"/>
            <a:ext cx="1218660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6800" y="1747015"/>
            <a:ext cx="11737975" cy="443198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laceholder for a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6800" y="2782800"/>
            <a:ext cx="11737975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Additional information</a:t>
            </a:r>
          </a:p>
        </p:txBody>
      </p:sp>
      <p:pic>
        <p:nvPicPr>
          <p:cNvPr id="120" name="Grafik 119">
            <a:extLst>
              <a:ext uri="{FF2B5EF4-FFF2-40B4-BE49-F238E27FC236}">
                <a16:creationId xmlns:a16="http://schemas.microsoft.com/office/drawing/2014/main" id="{519890E7-9E68-4FF2-AA1C-CC591E7E19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63022" y="224645"/>
            <a:ext cx="2330860" cy="465552"/>
          </a:xfrm>
          <a:prstGeom prst="rect">
            <a:avLst/>
          </a:prstGeom>
        </p:spPr>
      </p:pic>
      <p:sp>
        <p:nvSpPr>
          <p:cNvPr id="130" name="Textplatzhalter 129">
            <a:extLst>
              <a:ext uri="{FF2B5EF4-FFF2-40B4-BE49-F238E27FC236}">
                <a16:creationId xmlns:a16="http://schemas.microsoft.com/office/drawing/2014/main" id="{0741E723-AD7C-4F89-9957-76A02216D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00" y="2197356"/>
            <a:ext cx="1173797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200" b="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holder for a </a:t>
            </a:r>
            <a:r>
              <a:rPr lang="en-US" dirty="0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1543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2A9A345-0990-493B-8B94-D5EF7BB198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solidFill>
            <a:schemeClr val="bg2"/>
          </a:solidFill>
        </p:spPr>
        <p:txBody>
          <a:bodyPr lIns="216000" tIns="72000"/>
          <a:lstStyle>
            <a:lvl1pPr algn="l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88F52EF-F5BA-4184-9F4E-C2F3EEFAF4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2638" y="87771"/>
            <a:ext cx="2331244" cy="740644"/>
          </a:xfrm>
          <a:blipFill>
            <a:blip r:embed="rId2"/>
            <a:srcRect/>
            <a:stretch>
              <a:fillRect t="18600" b="18600"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6800" y="1747275"/>
            <a:ext cx="11737975" cy="443198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2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Placeholder for a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6800" y="2783657"/>
            <a:ext cx="11737975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Additional information</a:t>
            </a:r>
          </a:p>
        </p:txBody>
      </p:sp>
      <p:sp>
        <p:nvSpPr>
          <p:cNvPr id="130" name="Textplatzhalter 129">
            <a:extLst>
              <a:ext uri="{FF2B5EF4-FFF2-40B4-BE49-F238E27FC236}">
                <a16:creationId xmlns:a16="http://schemas.microsoft.com/office/drawing/2014/main" id="{0741E723-AD7C-4F89-9957-76A02216D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00" y="2197275"/>
            <a:ext cx="1173797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200" b="0" cap="all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holder for a </a:t>
            </a:r>
            <a:r>
              <a:rPr lang="en-US" dirty="0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0995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8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72A9A345-0990-493B-8B94-D5EF7BB198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solidFill>
            <a:schemeClr val="bg2"/>
          </a:solidFill>
        </p:spPr>
        <p:txBody>
          <a:bodyPr lIns="216000" tIns="72000"/>
          <a:lstStyle>
            <a:lvl1pPr algn="l">
              <a:spcBef>
                <a:spcPts val="0"/>
              </a:spcBef>
              <a:defRPr b="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88F52EF-F5BA-4184-9F4E-C2F3EEFAF4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62638" y="87771"/>
            <a:ext cx="2331244" cy="740644"/>
          </a:xfrm>
          <a:blipFill>
            <a:blip r:embed="rId2"/>
            <a:srcRect/>
            <a:stretch>
              <a:fillRect t="18600" b="18600"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6800" y="1747275"/>
            <a:ext cx="11737975" cy="443198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laceholder for a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6800" y="2783657"/>
            <a:ext cx="11737975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Additional information</a:t>
            </a:r>
          </a:p>
        </p:txBody>
      </p:sp>
      <p:sp>
        <p:nvSpPr>
          <p:cNvPr id="130" name="Textplatzhalter 129">
            <a:extLst>
              <a:ext uri="{FF2B5EF4-FFF2-40B4-BE49-F238E27FC236}">
                <a16:creationId xmlns:a16="http://schemas.microsoft.com/office/drawing/2014/main" id="{0741E723-AD7C-4F89-9957-76A02216DE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00" y="2197275"/>
            <a:ext cx="1173797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200" b="0" cap="all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holder for a </a:t>
            </a:r>
            <a:r>
              <a:rPr lang="en-US" dirty="0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1323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8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ho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37600" y="1746000"/>
            <a:ext cx="11737975" cy="3323987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9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laceholder for a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37600" y="5021217"/>
            <a:ext cx="11716800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Additional information</a:t>
            </a:r>
          </a:p>
        </p:txBody>
      </p:sp>
      <p:pic>
        <p:nvPicPr>
          <p:cNvPr id="120" name="Grafik 119">
            <a:extLst>
              <a:ext uri="{FF2B5EF4-FFF2-40B4-BE49-F238E27FC236}">
                <a16:creationId xmlns:a16="http://schemas.microsoft.com/office/drawing/2014/main" id="{519890E7-9E68-4FF2-AA1C-CC591E7E19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63022" y="224645"/>
            <a:ext cx="2330860" cy="46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5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8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Kapita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312403-C528-48DC-916C-7FE149436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800" y="144000"/>
            <a:ext cx="9757632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dex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2456E0-03E6-486D-A37A-ECC54952F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AE2608C-3282-445B-B583-0DD9D42ADC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6800" y="1736725"/>
            <a:ext cx="11738188" cy="4679950"/>
          </a:xfrm>
        </p:spPr>
        <p:txBody>
          <a:bodyPr/>
          <a:lstStyle>
            <a:lvl1pPr marL="342900" indent="-34290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/>
            </a:lvl1pPr>
            <a:lvl2pPr marL="546100" indent="-204788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cap="none" baseline="0"/>
            </a:lvl2pPr>
            <a:lvl3pPr marL="342900" indent="-342900">
              <a:buFont typeface="+mj-lt"/>
              <a:buAutoNum type="arabicPeriod"/>
              <a:defRPr cap="all" baseline="0"/>
            </a:lvl3pPr>
            <a:lvl4pPr marL="342900" indent="-342900">
              <a:buFont typeface="+mj-lt"/>
              <a:buAutoNum type="arabicPeriod"/>
              <a:defRPr cap="all" baseline="0"/>
            </a:lvl4pPr>
            <a:lvl5pPr marL="342900" indent="-342900">
              <a:buFont typeface="+mj-lt"/>
              <a:buAutoNum type="arabicPeriod"/>
              <a:defRPr cap="all" baseline="0"/>
            </a:lvl5pPr>
          </a:lstStyle>
          <a:p>
            <a:pPr lvl="0"/>
            <a:r>
              <a:rPr lang="en-US" noProof="0" dirty="0"/>
              <a:t>Chapter title </a:t>
            </a:r>
          </a:p>
          <a:p>
            <a:pPr lvl="1"/>
            <a:r>
              <a:rPr lang="en-US" noProof="0" dirty="0"/>
              <a:t>Sub-Chapter</a:t>
            </a:r>
          </a:p>
        </p:txBody>
      </p:sp>
    </p:spTree>
    <p:extLst>
      <p:ext uri="{BB962C8B-B14F-4D97-AF65-F5344CB8AC3E}">
        <p14:creationId xmlns:p14="http://schemas.microsoft.com/office/powerpoint/2010/main" val="1467401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07922" y="141312"/>
            <a:ext cx="972162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/>
              <a:t>Placeholder slide tit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3C1CF95-06A9-4561-909C-0D985F718DE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226800" y="1735201"/>
            <a:ext cx="11727387" cy="4681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2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A6C9F1C-C535-4D76-A262-E29D168816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720" y="6562800"/>
            <a:ext cx="46926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61C381ED-541D-4EC8-87B0-7ECDF90D21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606B2F5-0924-4F38-81D4-702D9C94ECD8}"/>
              </a:ext>
            </a:extLst>
          </p:cNvPr>
          <p:cNvSpPr/>
          <p:nvPr userDrawn="1"/>
        </p:nvSpPr>
        <p:spPr>
          <a:xfrm>
            <a:off x="237600" y="6562800"/>
            <a:ext cx="1285892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indent="0" algn="l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000" b="1" noProof="0">
                <a:solidFill>
                  <a:schemeClr val="tx1"/>
                </a:solidFill>
              </a:rPr>
              <a:t>OSRAM Continental </a:t>
            </a:r>
            <a:r>
              <a:rPr lang="en-GB" sz="1000" b="0" noProof="0">
                <a:solidFill>
                  <a:schemeClr val="tx1"/>
                </a:solidFill>
              </a:rPr>
              <a:t>|</a:t>
            </a:r>
            <a:endParaRPr lang="en-GB" sz="1000" b="0" noProof="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E83C192-DA23-426C-86BA-3FC59E3527FB}"/>
              </a:ext>
            </a:extLst>
          </p:cNvPr>
          <p:cNvSpPr/>
          <p:nvPr userDrawn="1"/>
        </p:nvSpPr>
        <p:spPr>
          <a:xfrm>
            <a:off x="1492250" y="6562800"/>
            <a:ext cx="9756012" cy="153888"/>
          </a:xfrm>
          <a:prstGeom prst="rect">
            <a:avLst/>
          </a:prstGeom>
        </p:spPr>
        <p:txBody>
          <a:bodyPr vert="horz" wrap="square" lIns="54000" tIns="0" rIns="0" bIns="0" rtlCol="0" anchor="ctr">
            <a:spAutoFit/>
          </a:bodyPr>
          <a:lstStyle/>
          <a:p>
            <a:pPr lvl="0"/>
            <a:r>
              <a:rPr lang="en-US" sz="1000" dirty="0"/>
              <a:t>Summer Practice | I</a:t>
            </a:r>
            <a:r>
              <a:rPr lang="ro-RO" sz="1000" dirty="0"/>
              <a:t>ași, 2020</a:t>
            </a:r>
            <a:endParaRPr lang="en-US" sz="1000" cap="none" baseline="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79FF37E-F661-43EE-9337-9A486A73A70E}"/>
              </a:ext>
            </a:extLst>
          </p:cNvPr>
          <p:cNvSpPr/>
          <p:nvPr userDrawn="1"/>
        </p:nvSpPr>
        <p:spPr bwMode="gray">
          <a:xfrm>
            <a:off x="10154188" y="209866"/>
            <a:ext cx="1810800" cy="280092"/>
          </a:xfrm>
          <a:prstGeom prst="rect">
            <a:avLst/>
          </a:prstGeom>
          <a:solidFill>
            <a:srgbClr val="46AF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>
                <a:solidFill>
                  <a:schemeClr val="tx1"/>
                </a:solidFill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2118487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15" r:id="rId2"/>
    <p:sldLayoutId id="2147483718" r:id="rId3"/>
    <p:sldLayoutId id="2147483719" r:id="rId4"/>
    <p:sldLayoutId id="2147483720" r:id="rId5"/>
    <p:sldLayoutId id="2147483697" r:id="rId6"/>
    <p:sldLayoutId id="2147483717" r:id="rId7"/>
    <p:sldLayoutId id="2147483691" r:id="rId8"/>
    <p:sldLayoutId id="2147483692" r:id="rId9"/>
    <p:sldLayoutId id="2147483721" r:id="rId10"/>
    <p:sldLayoutId id="2147483693" r:id="rId11"/>
    <p:sldLayoutId id="2147483694" r:id="rId12"/>
    <p:sldLayoutId id="2147483690" r:id="rId13"/>
    <p:sldLayoutId id="2147483703" r:id="rId14"/>
    <p:sldLayoutId id="2147483695" r:id="rId15"/>
    <p:sldLayoutId id="2147483711" r:id="rId16"/>
    <p:sldLayoutId id="2147483710" r:id="rId17"/>
    <p:sldLayoutId id="2147483716" r:id="rId18"/>
    <p:sldLayoutId id="2147483704" r:id="rId19"/>
    <p:sldLayoutId id="2147483705" r:id="rId20"/>
    <p:sldLayoutId id="2147483706" r:id="rId21"/>
    <p:sldLayoutId id="2147483707" r:id="rId22"/>
    <p:sldLayoutId id="2147483702" r:id="rId23"/>
    <p:sldLayoutId id="2147483700" r:id="rId24"/>
    <p:sldLayoutId id="2147483701" r:id="rId25"/>
    <p:sldLayoutId id="2147483699" r:id="rId26"/>
    <p:sldLayoutId id="2147483712" r:id="rId27"/>
    <p:sldLayoutId id="2147483713" r:id="rId28"/>
    <p:sldLayoutId id="2147483709" r:id="rId29"/>
    <p:sldLayoutId id="2147483724" r:id="rId30"/>
    <p:sldLayoutId id="2147483725" r:id="rId31"/>
    <p:sldLayoutId id="2147483726" r:id="rId3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1200"/>
        </a:spcBef>
        <a:buFontTx/>
        <a:buNone/>
        <a:defRPr sz="18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377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 cap="none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37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1800" kern="1200" cap="none">
          <a:solidFill>
            <a:schemeClr val="tx1"/>
          </a:solidFill>
          <a:latin typeface="+mn-lt"/>
          <a:ea typeface="+mn-ea"/>
          <a:cs typeface="+mn-cs"/>
        </a:defRPr>
      </a:lvl3pPr>
      <a:lvl4pPr marL="252000" indent="-252000" algn="l" defTabSz="91437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52000" indent="-252000" algn="l" defTabSz="914377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1800" kern="1200" cap="none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3" userDrawn="1">
          <p15:clr>
            <a:srgbClr val="F26B43"/>
          </p15:clr>
        </p15:guide>
        <p15:guide id="2" pos="7537" userDrawn="1">
          <p15:clr>
            <a:srgbClr val="F26B43"/>
          </p15:clr>
        </p15:guide>
        <p15:guide id="3" orient="horz" pos="1094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908" userDrawn="1">
          <p15:clr>
            <a:srgbClr val="F26B43"/>
          </p15:clr>
        </p15:guide>
        <p15:guide id="7" pos="37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70.jp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microsoft.com/office/2007/relationships/hdphoto" Target="../media/hdphoto2.wdp"/><Relationship Id="rId18" Type="http://schemas.openxmlformats.org/officeDocument/2006/relationships/image" Target="../media/image20.jpeg"/><Relationship Id="rId26" Type="http://schemas.openxmlformats.org/officeDocument/2006/relationships/image" Target="../media/image27.jpe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2.jpeg"/><Relationship Id="rId7" Type="http://schemas.openxmlformats.org/officeDocument/2006/relationships/image" Target="../media/image12.png"/><Relationship Id="rId12" Type="http://schemas.openxmlformats.org/officeDocument/2006/relationships/image" Target="../media/image16.png"/><Relationship Id="rId17" Type="http://schemas.openxmlformats.org/officeDocument/2006/relationships/image" Target="../media/image19.jpeg"/><Relationship Id="rId25" Type="http://schemas.openxmlformats.org/officeDocument/2006/relationships/image" Target="../media/image26.png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18.png"/><Relationship Id="rId20" Type="http://schemas.microsoft.com/office/2007/relationships/hdphoto" Target="../media/hdphoto4.wdp"/><Relationship Id="rId29" Type="http://schemas.openxmlformats.org/officeDocument/2006/relationships/image" Target="../media/image30.jpeg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11" Type="http://schemas.openxmlformats.org/officeDocument/2006/relationships/image" Target="../media/image15.jpeg"/><Relationship Id="rId24" Type="http://schemas.openxmlformats.org/officeDocument/2006/relationships/image" Target="../media/image25.png"/><Relationship Id="rId5" Type="http://schemas.openxmlformats.org/officeDocument/2006/relationships/image" Target="../media/image10.emf"/><Relationship Id="rId15" Type="http://schemas.microsoft.com/office/2007/relationships/hdphoto" Target="../media/hdphoto3.wdp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10" Type="http://schemas.openxmlformats.org/officeDocument/2006/relationships/image" Target="../media/image14.jpeg"/><Relationship Id="rId19" Type="http://schemas.openxmlformats.org/officeDocument/2006/relationships/image" Target="../media/image21.png"/><Relationship Id="rId31" Type="http://schemas.openxmlformats.org/officeDocument/2006/relationships/image" Target="../media/image3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3.png"/><Relationship Id="rId14" Type="http://schemas.openxmlformats.org/officeDocument/2006/relationships/image" Target="../media/image17.png"/><Relationship Id="rId22" Type="http://schemas.openxmlformats.org/officeDocument/2006/relationships/image" Target="../media/image23.png"/><Relationship Id="rId27" Type="http://schemas.openxmlformats.org/officeDocument/2006/relationships/image" Target="../media/image28.jpeg"/><Relationship Id="rId30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7.jpeg"/><Relationship Id="rId3" Type="http://schemas.openxmlformats.org/officeDocument/2006/relationships/image" Target="../media/image39.jpeg"/><Relationship Id="rId7" Type="http://schemas.microsoft.com/office/2007/relationships/hdphoto" Target="../media/hdphoto5.wdp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0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2.png"/><Relationship Id="rId11" Type="http://schemas.microsoft.com/office/2007/relationships/hdphoto" Target="../media/hdphoto6.wdp"/><Relationship Id="rId5" Type="http://schemas.openxmlformats.org/officeDocument/2006/relationships/image" Target="../media/image41.png"/><Relationship Id="rId15" Type="http://schemas.openxmlformats.org/officeDocument/2006/relationships/image" Target="../media/image49.jpeg"/><Relationship Id="rId10" Type="http://schemas.openxmlformats.org/officeDocument/2006/relationships/image" Target="../media/image45.png"/><Relationship Id="rId4" Type="http://schemas.openxmlformats.org/officeDocument/2006/relationships/image" Target="../media/image40.png"/><Relationship Id="rId9" Type="http://schemas.openxmlformats.org/officeDocument/2006/relationships/image" Target="../media/image44.png"/><Relationship Id="rId14" Type="http://schemas.openxmlformats.org/officeDocument/2006/relationships/image" Target="../media/image48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21.xml"/><Relationship Id="rId21" Type="http://schemas.openxmlformats.org/officeDocument/2006/relationships/tags" Target="../tags/tag25.xml"/><Relationship Id="rId42" Type="http://schemas.openxmlformats.org/officeDocument/2006/relationships/tags" Target="../tags/tag46.xml"/><Relationship Id="rId63" Type="http://schemas.openxmlformats.org/officeDocument/2006/relationships/tags" Target="../tags/tag67.xml"/><Relationship Id="rId84" Type="http://schemas.openxmlformats.org/officeDocument/2006/relationships/tags" Target="../tags/tag88.xml"/><Relationship Id="rId138" Type="http://schemas.openxmlformats.org/officeDocument/2006/relationships/tags" Target="../tags/tag142.xml"/><Relationship Id="rId159" Type="http://schemas.openxmlformats.org/officeDocument/2006/relationships/tags" Target="../tags/tag163.xml"/><Relationship Id="rId170" Type="http://schemas.openxmlformats.org/officeDocument/2006/relationships/tags" Target="../tags/tag174.xml"/><Relationship Id="rId107" Type="http://schemas.openxmlformats.org/officeDocument/2006/relationships/tags" Target="../tags/tag111.xml"/><Relationship Id="rId11" Type="http://schemas.openxmlformats.org/officeDocument/2006/relationships/tags" Target="../tags/tag15.xml"/><Relationship Id="rId32" Type="http://schemas.openxmlformats.org/officeDocument/2006/relationships/tags" Target="../tags/tag36.xml"/><Relationship Id="rId53" Type="http://schemas.openxmlformats.org/officeDocument/2006/relationships/tags" Target="../tags/tag57.xml"/><Relationship Id="rId74" Type="http://schemas.openxmlformats.org/officeDocument/2006/relationships/tags" Target="../tags/tag78.xml"/><Relationship Id="rId128" Type="http://schemas.openxmlformats.org/officeDocument/2006/relationships/tags" Target="../tags/tag132.xml"/><Relationship Id="rId149" Type="http://schemas.openxmlformats.org/officeDocument/2006/relationships/tags" Target="../tags/tag153.xml"/><Relationship Id="rId5" Type="http://schemas.openxmlformats.org/officeDocument/2006/relationships/tags" Target="../tags/tag9.xml"/><Relationship Id="rId95" Type="http://schemas.openxmlformats.org/officeDocument/2006/relationships/tags" Target="../tags/tag99.xml"/><Relationship Id="rId160" Type="http://schemas.openxmlformats.org/officeDocument/2006/relationships/tags" Target="../tags/tag164.xml"/><Relationship Id="rId22" Type="http://schemas.openxmlformats.org/officeDocument/2006/relationships/tags" Target="../tags/tag26.xml"/><Relationship Id="rId43" Type="http://schemas.openxmlformats.org/officeDocument/2006/relationships/tags" Target="../tags/tag47.xml"/><Relationship Id="rId64" Type="http://schemas.openxmlformats.org/officeDocument/2006/relationships/tags" Target="../tags/tag68.xml"/><Relationship Id="rId118" Type="http://schemas.openxmlformats.org/officeDocument/2006/relationships/tags" Target="../tags/tag122.xml"/><Relationship Id="rId139" Type="http://schemas.openxmlformats.org/officeDocument/2006/relationships/tags" Target="../tags/tag143.xml"/><Relationship Id="rId85" Type="http://schemas.openxmlformats.org/officeDocument/2006/relationships/tags" Target="../tags/tag89.xml"/><Relationship Id="rId150" Type="http://schemas.openxmlformats.org/officeDocument/2006/relationships/tags" Target="../tags/tag154.xml"/><Relationship Id="rId171" Type="http://schemas.openxmlformats.org/officeDocument/2006/relationships/tags" Target="../tags/tag175.xml"/><Relationship Id="rId12" Type="http://schemas.openxmlformats.org/officeDocument/2006/relationships/tags" Target="../tags/tag16.xml"/><Relationship Id="rId33" Type="http://schemas.openxmlformats.org/officeDocument/2006/relationships/tags" Target="../tags/tag37.xml"/><Relationship Id="rId108" Type="http://schemas.openxmlformats.org/officeDocument/2006/relationships/tags" Target="../tags/tag112.xml"/><Relationship Id="rId129" Type="http://schemas.openxmlformats.org/officeDocument/2006/relationships/tags" Target="../tags/tag133.xml"/><Relationship Id="rId54" Type="http://schemas.openxmlformats.org/officeDocument/2006/relationships/tags" Target="../tags/tag58.xml"/><Relationship Id="rId75" Type="http://schemas.openxmlformats.org/officeDocument/2006/relationships/tags" Target="../tags/tag79.xml"/><Relationship Id="rId96" Type="http://schemas.openxmlformats.org/officeDocument/2006/relationships/tags" Target="../tags/tag100.xml"/><Relationship Id="rId140" Type="http://schemas.openxmlformats.org/officeDocument/2006/relationships/tags" Target="../tags/tag144.xml"/><Relationship Id="rId161" Type="http://schemas.openxmlformats.org/officeDocument/2006/relationships/tags" Target="../tags/tag165.xml"/><Relationship Id="rId6" Type="http://schemas.openxmlformats.org/officeDocument/2006/relationships/tags" Target="../tags/tag10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49" Type="http://schemas.openxmlformats.org/officeDocument/2006/relationships/tags" Target="../tags/tag53.xml"/><Relationship Id="rId114" Type="http://schemas.openxmlformats.org/officeDocument/2006/relationships/tags" Target="../tags/tag118.xml"/><Relationship Id="rId119" Type="http://schemas.openxmlformats.org/officeDocument/2006/relationships/tags" Target="../tags/tag123.xml"/><Relationship Id="rId44" Type="http://schemas.openxmlformats.org/officeDocument/2006/relationships/tags" Target="../tags/tag48.xml"/><Relationship Id="rId60" Type="http://schemas.openxmlformats.org/officeDocument/2006/relationships/tags" Target="../tags/tag64.xml"/><Relationship Id="rId65" Type="http://schemas.openxmlformats.org/officeDocument/2006/relationships/tags" Target="../tags/tag69.xml"/><Relationship Id="rId81" Type="http://schemas.openxmlformats.org/officeDocument/2006/relationships/tags" Target="../tags/tag85.xml"/><Relationship Id="rId86" Type="http://schemas.openxmlformats.org/officeDocument/2006/relationships/tags" Target="../tags/tag90.xml"/><Relationship Id="rId130" Type="http://schemas.openxmlformats.org/officeDocument/2006/relationships/tags" Target="../tags/tag134.xml"/><Relationship Id="rId135" Type="http://schemas.openxmlformats.org/officeDocument/2006/relationships/tags" Target="../tags/tag139.xml"/><Relationship Id="rId151" Type="http://schemas.openxmlformats.org/officeDocument/2006/relationships/tags" Target="../tags/tag155.xml"/><Relationship Id="rId156" Type="http://schemas.openxmlformats.org/officeDocument/2006/relationships/tags" Target="../tags/tag160.xml"/><Relationship Id="rId177" Type="http://schemas.openxmlformats.org/officeDocument/2006/relationships/oleObject" Target="../embeddings/oleObject5.bin"/><Relationship Id="rId172" Type="http://schemas.openxmlformats.org/officeDocument/2006/relationships/tags" Target="../tags/tag176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39" Type="http://schemas.openxmlformats.org/officeDocument/2006/relationships/tags" Target="../tags/tag43.xml"/><Relationship Id="rId109" Type="http://schemas.openxmlformats.org/officeDocument/2006/relationships/tags" Target="../tags/tag113.xml"/><Relationship Id="rId34" Type="http://schemas.openxmlformats.org/officeDocument/2006/relationships/tags" Target="../tags/tag38.xml"/><Relationship Id="rId50" Type="http://schemas.openxmlformats.org/officeDocument/2006/relationships/tags" Target="../tags/tag54.xml"/><Relationship Id="rId55" Type="http://schemas.openxmlformats.org/officeDocument/2006/relationships/tags" Target="../tags/tag59.xml"/><Relationship Id="rId76" Type="http://schemas.openxmlformats.org/officeDocument/2006/relationships/tags" Target="../tags/tag80.xml"/><Relationship Id="rId97" Type="http://schemas.openxmlformats.org/officeDocument/2006/relationships/tags" Target="../tags/tag101.xml"/><Relationship Id="rId104" Type="http://schemas.openxmlformats.org/officeDocument/2006/relationships/tags" Target="../tags/tag108.xml"/><Relationship Id="rId120" Type="http://schemas.openxmlformats.org/officeDocument/2006/relationships/tags" Target="../tags/tag124.xml"/><Relationship Id="rId125" Type="http://schemas.openxmlformats.org/officeDocument/2006/relationships/tags" Target="../tags/tag129.xml"/><Relationship Id="rId141" Type="http://schemas.openxmlformats.org/officeDocument/2006/relationships/tags" Target="../tags/tag145.xml"/><Relationship Id="rId146" Type="http://schemas.openxmlformats.org/officeDocument/2006/relationships/tags" Target="../tags/tag150.xml"/><Relationship Id="rId167" Type="http://schemas.openxmlformats.org/officeDocument/2006/relationships/tags" Target="../tags/tag171.xml"/><Relationship Id="rId7" Type="http://schemas.openxmlformats.org/officeDocument/2006/relationships/tags" Target="../tags/tag11.xml"/><Relationship Id="rId71" Type="http://schemas.openxmlformats.org/officeDocument/2006/relationships/tags" Target="../tags/tag75.xml"/><Relationship Id="rId92" Type="http://schemas.openxmlformats.org/officeDocument/2006/relationships/tags" Target="../tags/tag96.xml"/><Relationship Id="rId162" Type="http://schemas.openxmlformats.org/officeDocument/2006/relationships/tags" Target="../tags/tag166.xml"/><Relationship Id="rId2" Type="http://schemas.openxmlformats.org/officeDocument/2006/relationships/tags" Target="../tags/tag6.xml"/><Relationship Id="rId29" Type="http://schemas.openxmlformats.org/officeDocument/2006/relationships/tags" Target="../tags/tag33.xml"/><Relationship Id="rId24" Type="http://schemas.openxmlformats.org/officeDocument/2006/relationships/tags" Target="../tags/tag28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66" Type="http://schemas.openxmlformats.org/officeDocument/2006/relationships/tags" Target="../tags/tag70.xml"/><Relationship Id="rId87" Type="http://schemas.openxmlformats.org/officeDocument/2006/relationships/tags" Target="../tags/tag91.xml"/><Relationship Id="rId110" Type="http://schemas.openxmlformats.org/officeDocument/2006/relationships/tags" Target="../tags/tag114.xml"/><Relationship Id="rId115" Type="http://schemas.openxmlformats.org/officeDocument/2006/relationships/tags" Target="../tags/tag119.xml"/><Relationship Id="rId131" Type="http://schemas.openxmlformats.org/officeDocument/2006/relationships/tags" Target="../tags/tag135.xml"/><Relationship Id="rId136" Type="http://schemas.openxmlformats.org/officeDocument/2006/relationships/tags" Target="../tags/tag140.xml"/><Relationship Id="rId157" Type="http://schemas.openxmlformats.org/officeDocument/2006/relationships/tags" Target="../tags/tag161.xml"/><Relationship Id="rId178" Type="http://schemas.openxmlformats.org/officeDocument/2006/relationships/image" Target="../media/image10.emf"/><Relationship Id="rId61" Type="http://schemas.openxmlformats.org/officeDocument/2006/relationships/tags" Target="../tags/tag65.xml"/><Relationship Id="rId82" Type="http://schemas.openxmlformats.org/officeDocument/2006/relationships/tags" Target="../tags/tag86.xml"/><Relationship Id="rId152" Type="http://schemas.openxmlformats.org/officeDocument/2006/relationships/tags" Target="../tags/tag156.xml"/><Relationship Id="rId173" Type="http://schemas.openxmlformats.org/officeDocument/2006/relationships/tags" Target="../tags/tag177.xml"/><Relationship Id="rId19" Type="http://schemas.openxmlformats.org/officeDocument/2006/relationships/tags" Target="../tags/tag23.xml"/><Relationship Id="rId14" Type="http://schemas.openxmlformats.org/officeDocument/2006/relationships/tags" Target="../tags/tag18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56" Type="http://schemas.openxmlformats.org/officeDocument/2006/relationships/tags" Target="../tags/tag60.xml"/><Relationship Id="rId77" Type="http://schemas.openxmlformats.org/officeDocument/2006/relationships/tags" Target="../tags/tag81.xml"/><Relationship Id="rId100" Type="http://schemas.openxmlformats.org/officeDocument/2006/relationships/tags" Target="../tags/tag104.xml"/><Relationship Id="rId105" Type="http://schemas.openxmlformats.org/officeDocument/2006/relationships/tags" Target="../tags/tag109.xml"/><Relationship Id="rId126" Type="http://schemas.openxmlformats.org/officeDocument/2006/relationships/tags" Target="../tags/tag130.xml"/><Relationship Id="rId147" Type="http://schemas.openxmlformats.org/officeDocument/2006/relationships/tags" Target="../tags/tag151.xml"/><Relationship Id="rId168" Type="http://schemas.openxmlformats.org/officeDocument/2006/relationships/tags" Target="../tags/tag172.xml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72" Type="http://schemas.openxmlformats.org/officeDocument/2006/relationships/tags" Target="../tags/tag76.xml"/><Relationship Id="rId93" Type="http://schemas.openxmlformats.org/officeDocument/2006/relationships/tags" Target="../tags/tag97.xml"/><Relationship Id="rId98" Type="http://schemas.openxmlformats.org/officeDocument/2006/relationships/tags" Target="../tags/tag102.xml"/><Relationship Id="rId121" Type="http://schemas.openxmlformats.org/officeDocument/2006/relationships/tags" Target="../tags/tag125.xml"/><Relationship Id="rId142" Type="http://schemas.openxmlformats.org/officeDocument/2006/relationships/tags" Target="../tags/tag146.xml"/><Relationship Id="rId163" Type="http://schemas.openxmlformats.org/officeDocument/2006/relationships/tags" Target="../tags/tag167.xml"/><Relationship Id="rId3" Type="http://schemas.openxmlformats.org/officeDocument/2006/relationships/tags" Target="../tags/tag7.xml"/><Relationship Id="rId25" Type="http://schemas.openxmlformats.org/officeDocument/2006/relationships/tags" Target="../tags/tag29.xml"/><Relationship Id="rId46" Type="http://schemas.openxmlformats.org/officeDocument/2006/relationships/tags" Target="../tags/tag50.xml"/><Relationship Id="rId67" Type="http://schemas.openxmlformats.org/officeDocument/2006/relationships/tags" Target="../tags/tag71.xml"/><Relationship Id="rId116" Type="http://schemas.openxmlformats.org/officeDocument/2006/relationships/tags" Target="../tags/tag120.xml"/><Relationship Id="rId137" Type="http://schemas.openxmlformats.org/officeDocument/2006/relationships/tags" Target="../tags/tag141.xml"/><Relationship Id="rId158" Type="http://schemas.openxmlformats.org/officeDocument/2006/relationships/tags" Target="../tags/tag162.xml"/><Relationship Id="rId20" Type="http://schemas.openxmlformats.org/officeDocument/2006/relationships/tags" Target="../tags/tag24.xml"/><Relationship Id="rId41" Type="http://schemas.openxmlformats.org/officeDocument/2006/relationships/tags" Target="../tags/tag45.xml"/><Relationship Id="rId62" Type="http://schemas.openxmlformats.org/officeDocument/2006/relationships/tags" Target="../tags/tag66.xml"/><Relationship Id="rId83" Type="http://schemas.openxmlformats.org/officeDocument/2006/relationships/tags" Target="../tags/tag87.xml"/><Relationship Id="rId88" Type="http://schemas.openxmlformats.org/officeDocument/2006/relationships/tags" Target="../tags/tag92.xml"/><Relationship Id="rId111" Type="http://schemas.openxmlformats.org/officeDocument/2006/relationships/tags" Target="../tags/tag115.xml"/><Relationship Id="rId132" Type="http://schemas.openxmlformats.org/officeDocument/2006/relationships/tags" Target="../tags/tag136.xml"/><Relationship Id="rId153" Type="http://schemas.openxmlformats.org/officeDocument/2006/relationships/tags" Target="../tags/tag157.xml"/><Relationship Id="rId174" Type="http://schemas.openxmlformats.org/officeDocument/2006/relationships/tags" Target="../tags/tag178.xml"/><Relationship Id="rId15" Type="http://schemas.openxmlformats.org/officeDocument/2006/relationships/tags" Target="../tags/tag19.xml"/><Relationship Id="rId36" Type="http://schemas.openxmlformats.org/officeDocument/2006/relationships/tags" Target="../tags/tag40.xml"/><Relationship Id="rId57" Type="http://schemas.openxmlformats.org/officeDocument/2006/relationships/tags" Target="../tags/tag61.xml"/><Relationship Id="rId106" Type="http://schemas.openxmlformats.org/officeDocument/2006/relationships/tags" Target="../tags/tag110.xml"/><Relationship Id="rId127" Type="http://schemas.openxmlformats.org/officeDocument/2006/relationships/tags" Target="../tags/tag131.xml"/><Relationship Id="rId10" Type="http://schemas.openxmlformats.org/officeDocument/2006/relationships/tags" Target="../tags/tag14.xml"/><Relationship Id="rId31" Type="http://schemas.openxmlformats.org/officeDocument/2006/relationships/tags" Target="../tags/tag35.xml"/><Relationship Id="rId52" Type="http://schemas.openxmlformats.org/officeDocument/2006/relationships/tags" Target="../tags/tag56.xml"/><Relationship Id="rId73" Type="http://schemas.openxmlformats.org/officeDocument/2006/relationships/tags" Target="../tags/tag77.xml"/><Relationship Id="rId78" Type="http://schemas.openxmlformats.org/officeDocument/2006/relationships/tags" Target="../tags/tag82.xml"/><Relationship Id="rId94" Type="http://schemas.openxmlformats.org/officeDocument/2006/relationships/tags" Target="../tags/tag98.xml"/><Relationship Id="rId99" Type="http://schemas.openxmlformats.org/officeDocument/2006/relationships/tags" Target="../tags/tag103.xml"/><Relationship Id="rId101" Type="http://schemas.openxmlformats.org/officeDocument/2006/relationships/tags" Target="../tags/tag105.xml"/><Relationship Id="rId122" Type="http://schemas.openxmlformats.org/officeDocument/2006/relationships/tags" Target="../tags/tag126.xml"/><Relationship Id="rId143" Type="http://schemas.openxmlformats.org/officeDocument/2006/relationships/tags" Target="../tags/tag147.xml"/><Relationship Id="rId148" Type="http://schemas.openxmlformats.org/officeDocument/2006/relationships/tags" Target="../tags/tag152.xml"/><Relationship Id="rId164" Type="http://schemas.openxmlformats.org/officeDocument/2006/relationships/tags" Target="../tags/tag168.xml"/><Relationship Id="rId169" Type="http://schemas.openxmlformats.org/officeDocument/2006/relationships/tags" Target="../tags/tag173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26" Type="http://schemas.openxmlformats.org/officeDocument/2006/relationships/tags" Target="../tags/tag30.xml"/><Relationship Id="rId47" Type="http://schemas.openxmlformats.org/officeDocument/2006/relationships/tags" Target="../tags/tag51.xml"/><Relationship Id="rId68" Type="http://schemas.openxmlformats.org/officeDocument/2006/relationships/tags" Target="../tags/tag72.xml"/><Relationship Id="rId89" Type="http://schemas.openxmlformats.org/officeDocument/2006/relationships/tags" Target="../tags/tag93.xml"/><Relationship Id="rId112" Type="http://schemas.openxmlformats.org/officeDocument/2006/relationships/tags" Target="../tags/tag116.xml"/><Relationship Id="rId133" Type="http://schemas.openxmlformats.org/officeDocument/2006/relationships/tags" Target="../tags/tag137.xml"/><Relationship Id="rId154" Type="http://schemas.openxmlformats.org/officeDocument/2006/relationships/tags" Target="../tags/tag158.xml"/><Relationship Id="rId175" Type="http://schemas.openxmlformats.org/officeDocument/2006/relationships/slideLayout" Target="../slideLayouts/slideLayout32.xml"/><Relationship Id="rId16" Type="http://schemas.openxmlformats.org/officeDocument/2006/relationships/tags" Target="../tags/tag20.xml"/><Relationship Id="rId37" Type="http://schemas.openxmlformats.org/officeDocument/2006/relationships/tags" Target="../tags/tag41.xml"/><Relationship Id="rId58" Type="http://schemas.openxmlformats.org/officeDocument/2006/relationships/tags" Target="../tags/tag62.xml"/><Relationship Id="rId79" Type="http://schemas.openxmlformats.org/officeDocument/2006/relationships/tags" Target="../tags/tag83.xml"/><Relationship Id="rId102" Type="http://schemas.openxmlformats.org/officeDocument/2006/relationships/tags" Target="../tags/tag106.xml"/><Relationship Id="rId123" Type="http://schemas.openxmlformats.org/officeDocument/2006/relationships/tags" Target="../tags/tag127.xml"/><Relationship Id="rId144" Type="http://schemas.openxmlformats.org/officeDocument/2006/relationships/tags" Target="../tags/tag148.xml"/><Relationship Id="rId90" Type="http://schemas.openxmlformats.org/officeDocument/2006/relationships/tags" Target="../tags/tag94.xml"/><Relationship Id="rId165" Type="http://schemas.openxmlformats.org/officeDocument/2006/relationships/tags" Target="../tags/tag169.xml"/><Relationship Id="rId27" Type="http://schemas.openxmlformats.org/officeDocument/2006/relationships/tags" Target="../tags/tag31.xml"/><Relationship Id="rId48" Type="http://schemas.openxmlformats.org/officeDocument/2006/relationships/tags" Target="../tags/tag52.xml"/><Relationship Id="rId69" Type="http://schemas.openxmlformats.org/officeDocument/2006/relationships/tags" Target="../tags/tag73.xml"/><Relationship Id="rId113" Type="http://schemas.openxmlformats.org/officeDocument/2006/relationships/tags" Target="../tags/tag117.xml"/><Relationship Id="rId134" Type="http://schemas.openxmlformats.org/officeDocument/2006/relationships/tags" Target="../tags/tag138.xml"/><Relationship Id="rId80" Type="http://schemas.openxmlformats.org/officeDocument/2006/relationships/tags" Target="../tags/tag84.xml"/><Relationship Id="rId155" Type="http://schemas.openxmlformats.org/officeDocument/2006/relationships/tags" Target="../tags/tag159.xml"/><Relationship Id="rId176" Type="http://schemas.openxmlformats.org/officeDocument/2006/relationships/notesSlide" Target="../notesSlides/notesSlide3.xml"/><Relationship Id="rId17" Type="http://schemas.openxmlformats.org/officeDocument/2006/relationships/tags" Target="../tags/tag21.xml"/><Relationship Id="rId38" Type="http://schemas.openxmlformats.org/officeDocument/2006/relationships/tags" Target="../tags/tag42.xml"/><Relationship Id="rId59" Type="http://schemas.openxmlformats.org/officeDocument/2006/relationships/tags" Target="../tags/tag63.xml"/><Relationship Id="rId103" Type="http://schemas.openxmlformats.org/officeDocument/2006/relationships/tags" Target="../tags/tag107.xml"/><Relationship Id="rId124" Type="http://schemas.openxmlformats.org/officeDocument/2006/relationships/tags" Target="../tags/tag128.xml"/><Relationship Id="rId70" Type="http://schemas.openxmlformats.org/officeDocument/2006/relationships/tags" Target="../tags/tag74.xml"/><Relationship Id="rId91" Type="http://schemas.openxmlformats.org/officeDocument/2006/relationships/tags" Target="../tags/tag95.xml"/><Relationship Id="rId145" Type="http://schemas.openxmlformats.org/officeDocument/2006/relationships/tags" Target="../tags/tag149.xml"/><Relationship Id="rId166" Type="http://schemas.openxmlformats.org/officeDocument/2006/relationships/tags" Target="../tags/tag170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9E193-8500-455D-AABE-0B5F9BC098DE}"/>
              </a:ext>
            </a:extLst>
          </p:cNvPr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GB"/>
              <a:t>OSRAM CONTINENTAL ROMANIA</a:t>
            </a:r>
          </a:p>
        </p:txBody>
      </p:sp>
      <p:sp>
        <p:nvSpPr>
          <p:cNvPr id="9" name="Untertitel 8">
            <a:extLst>
              <a:ext uri="{FF2B5EF4-FFF2-40B4-BE49-F238E27FC236}">
                <a16:creationId xmlns:a16="http://schemas.microsoft.com/office/drawing/2014/main" id="{E06E5FE9-4F18-4F9E-A49B-00E11B68100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en-GB" dirty="0"/>
              <a:t>PRACHTECH 202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6F4C100-69B2-447F-BB99-3A6C351923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en-GB" dirty="0"/>
              <a:t>location </a:t>
            </a:r>
            <a:r>
              <a:rPr lang="ro-RO" dirty="0"/>
              <a:t>- </a:t>
            </a:r>
            <a:r>
              <a:rPr lang="en-GB" dirty="0"/>
              <a:t>Iasi</a:t>
            </a:r>
          </a:p>
        </p:txBody>
      </p:sp>
    </p:spTree>
    <p:extLst>
      <p:ext uri="{BB962C8B-B14F-4D97-AF65-F5344CB8AC3E}">
        <p14:creationId xmlns:p14="http://schemas.microsoft.com/office/powerpoint/2010/main" val="851888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970F5-2D15-4566-918C-64D611146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petency Overview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99FDE0-2591-41A0-8255-A028C2399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E853270-8CFE-47B2-8685-DC7D209A3A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Location Iasi</a:t>
            </a:r>
            <a:endParaRPr lang="en-GB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47B3498-188D-44E2-9ED6-3E570BC3915E}"/>
              </a:ext>
            </a:extLst>
          </p:cNvPr>
          <p:cNvGraphicFramePr/>
          <p:nvPr/>
        </p:nvGraphicFramePr>
        <p:xfrm>
          <a:off x="119335" y="1736725"/>
          <a:ext cx="5868715" cy="4679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CE5FAFC-C606-44A9-86B9-CBA011D65CE8}"/>
              </a:ext>
            </a:extLst>
          </p:cNvPr>
          <p:cNvGraphicFramePr/>
          <p:nvPr/>
        </p:nvGraphicFramePr>
        <p:xfrm>
          <a:off x="6203951" y="1736725"/>
          <a:ext cx="5652690" cy="4706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089966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26799-336F-4E0F-BEBA-9866EC856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" y="144000"/>
            <a:ext cx="11727388" cy="443198"/>
          </a:xfrm>
        </p:spPr>
        <p:txBody>
          <a:bodyPr/>
          <a:lstStyle/>
          <a:p>
            <a:r>
              <a:rPr lang="en-US" dirty="0"/>
              <a:t>OSRAM CONTINENTAL Romania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F67C73-2E8B-43D5-8762-CB076AD73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E69793-5E94-4290-986B-60A74F9230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tudent opportunities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5C4E24-E1CF-44CA-B465-8DCBEA71729D}"/>
              </a:ext>
            </a:extLst>
          </p:cNvPr>
          <p:cNvSpPr txBox="1"/>
          <p:nvPr/>
        </p:nvSpPr>
        <p:spPr>
          <a:xfrm>
            <a:off x="669295" y="1428149"/>
            <a:ext cx="7582108" cy="9971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en-US" sz="1800" b="1" dirty="0"/>
              <a:t>Internships</a:t>
            </a:r>
            <a:r>
              <a:rPr lang="en-US" sz="1800" dirty="0"/>
              <a:t> for: </a:t>
            </a:r>
          </a:p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en-US" sz="1800" dirty="0"/>
              <a:t>	* Hardware Development </a:t>
            </a:r>
          </a:p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en-US" sz="1800" dirty="0"/>
              <a:t>	* Software Development </a:t>
            </a:r>
          </a:p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en-US" sz="1800" dirty="0"/>
              <a:t>	* Test Engineering </a:t>
            </a: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69AA5FAE-D145-461D-B5E1-1099D9F7F47B}"/>
              </a:ext>
            </a:extLst>
          </p:cNvPr>
          <p:cNvGraphicFramePr/>
          <p:nvPr/>
        </p:nvGraphicFramePr>
        <p:xfrm>
          <a:off x="507792" y="2467821"/>
          <a:ext cx="11446396" cy="33741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AC06D1D6-7EE7-4DD4-A809-3B3B53BC2BDD}"/>
              </a:ext>
            </a:extLst>
          </p:cNvPr>
          <p:cNvSpPr txBox="1"/>
          <p:nvPr/>
        </p:nvSpPr>
        <p:spPr>
          <a:xfrm>
            <a:off x="4849608" y="1567472"/>
            <a:ext cx="3785658" cy="9971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en-US" sz="1800" b="1" dirty="0"/>
              <a:t>Diploma Project </a:t>
            </a:r>
          </a:p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en-US" sz="1800" dirty="0"/>
              <a:t> * partnerships with university teachers </a:t>
            </a:r>
          </a:p>
          <a:p>
            <a:pPr algn="l">
              <a:lnSpc>
                <a:spcPct val="90000"/>
              </a:lnSpc>
              <a:spcBef>
                <a:spcPts val="0"/>
              </a:spcBef>
            </a:pPr>
            <a:endParaRPr lang="en-US" sz="1800" dirty="0" err="1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A0B2CCB-E60D-421C-A19A-7A38CE5411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39945" y="0"/>
            <a:ext cx="3352056" cy="206447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269C722-07DC-49F0-9EF4-3BF3038634CF}"/>
              </a:ext>
            </a:extLst>
          </p:cNvPr>
          <p:cNvSpPr txBox="1"/>
          <p:nvPr/>
        </p:nvSpPr>
        <p:spPr>
          <a:xfrm>
            <a:off x="2239995" y="6077750"/>
            <a:ext cx="6952180" cy="2492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o-RO" sz="1800" b="1" dirty="0"/>
              <a:t>Apply at </a:t>
            </a:r>
            <a:r>
              <a:rPr lang="en-US" sz="1800" b="1" dirty="0">
                <a:solidFill>
                  <a:schemeClr val="tx2"/>
                </a:solidFill>
              </a:rPr>
              <a:t>https://www.osram-continental.com/career</a:t>
            </a:r>
          </a:p>
        </p:txBody>
      </p:sp>
    </p:spTree>
    <p:extLst>
      <p:ext uri="{BB962C8B-B14F-4D97-AF65-F5344CB8AC3E}">
        <p14:creationId xmlns:p14="http://schemas.microsoft.com/office/powerpoint/2010/main" val="28367500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2B5CF7-BCB0-4A2F-B558-6B8284FF05C9}"/>
              </a:ext>
            </a:extLst>
          </p:cNvPr>
          <p:cNvSpPr>
            <a:spLocks noGrp="1"/>
          </p:cNvSpPr>
          <p:nvPr>
            <p:ph type="ctrTitle"/>
          </p:nvPr>
        </p:nvSpPr>
        <p:spPr bwMode="black"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151163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Rectangle 286"/>
          <p:cNvSpPr>
            <a:spLocks noChangeArrowheads="1"/>
          </p:cNvSpPr>
          <p:nvPr/>
        </p:nvSpPr>
        <p:spPr bwMode="gray">
          <a:xfrm>
            <a:off x="2072132" y="2470639"/>
            <a:ext cx="8055448" cy="1737496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286"/>
          <p:cNvSpPr>
            <a:spLocks noChangeArrowheads="1"/>
          </p:cNvSpPr>
          <p:nvPr/>
        </p:nvSpPr>
        <p:spPr bwMode="gray">
          <a:xfrm>
            <a:off x="6166767" y="5078662"/>
            <a:ext cx="3960813" cy="1067161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solidFill>
              <a:schemeClr val="accent5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2" name="Grafik 6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2370" y="3356510"/>
            <a:ext cx="985319" cy="54540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4915" b="93788" l="9950" r="89914">
                        <a14:foregroundMark x1="20672" y1="35427" x2="22035" y2="25597"/>
                        <a14:foregroundMark x1="20945" y1="27031" x2="20173" y2="34949"/>
                        <a14:foregroundMark x1="22035" y1="24983" x2="64016" y2="7986"/>
                        <a14:foregroundMark x1="64016" y1="6689" x2="67015" y2="6689"/>
                        <a14:foregroundMark x1="64244" y1="6348" x2="67015" y2="5802"/>
                        <a14:foregroundMark x1="67197" y1="6212" x2="70014" y2="10853"/>
                        <a14:foregroundMark x1="67106" y1="6212" x2="69060" y2="7986"/>
                        <a14:foregroundMark x1="66424" y1="6689" x2="70286" y2="9966"/>
                        <a14:foregroundMark x1="23762" y1="46416" x2="30395" y2="88737"/>
                        <a14:foregroundMark x1="27896" y1="79590" x2="29032" y2="88259"/>
                        <a14:foregroundMark x1="29532" y1="88259" x2="31531" y2="93788"/>
                        <a14:foregroundMark x1="70104" y1="75427" x2="77601" y2="66212"/>
                        <a14:foregroundMark x1="75693" y1="67304" x2="72104" y2="34949"/>
                        <a14:foregroundMark x1="66833" y1="36246" x2="73467" y2="65188"/>
                        <a14:foregroundMark x1="76920" y1="66348" x2="69696" y2="11399"/>
                        <a14:foregroundMark x1="56338" y1="77884" x2="50704" y2="80956"/>
                        <a14:backgroundMark x1="51159" y1="85666" x2="34711" y2="9508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9458" y="3366472"/>
            <a:ext cx="789399" cy="52548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432" y="3278252"/>
            <a:ext cx="575213" cy="66675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91" b="16907"/>
          <a:stretch/>
        </p:blipFill>
        <p:spPr>
          <a:xfrm>
            <a:off x="4737264" y="2584938"/>
            <a:ext cx="1057553" cy="52643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90" b="11498"/>
          <a:stretch/>
        </p:blipFill>
        <p:spPr>
          <a:xfrm>
            <a:off x="2267837" y="2585892"/>
            <a:ext cx="1108877" cy="525484"/>
          </a:xfrm>
          <a:prstGeom prst="rect">
            <a:avLst/>
          </a:prstGeom>
        </p:spPr>
      </p:pic>
      <p:sp>
        <p:nvSpPr>
          <p:cNvPr id="7" name="Rectangle 285"/>
          <p:cNvSpPr>
            <a:spLocks noChangeArrowheads="1"/>
          </p:cNvSpPr>
          <p:nvPr/>
        </p:nvSpPr>
        <p:spPr bwMode="gray">
          <a:xfrm>
            <a:off x="2063751" y="2220205"/>
            <a:ext cx="8063829" cy="250434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rgbClr val="58585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tfolio / applications offered by the JV</a:t>
            </a:r>
          </a:p>
        </p:txBody>
      </p:sp>
      <p:sp>
        <p:nvSpPr>
          <p:cNvPr id="27" name="Rectangle 285"/>
          <p:cNvSpPr>
            <a:spLocks noChangeArrowheads="1"/>
          </p:cNvSpPr>
          <p:nvPr/>
        </p:nvSpPr>
        <p:spPr bwMode="gray">
          <a:xfrm>
            <a:off x="2063751" y="4387039"/>
            <a:ext cx="3960813" cy="2889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8585A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58585A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90000" tIns="46800" rIns="90000" bIns="4680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8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nership</a:t>
            </a:r>
          </a:p>
        </p:txBody>
      </p:sp>
      <p:sp>
        <p:nvSpPr>
          <p:cNvPr id="19" name="Rectangle 285"/>
          <p:cNvSpPr>
            <a:spLocks noChangeArrowheads="1"/>
          </p:cNvSpPr>
          <p:nvPr/>
        </p:nvSpPr>
        <p:spPr bwMode="gray">
          <a:xfrm>
            <a:off x="2063751" y="4828228"/>
            <a:ext cx="3960813" cy="250434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RAM Businesses</a:t>
            </a:r>
          </a:p>
        </p:txBody>
      </p:sp>
      <p:sp>
        <p:nvSpPr>
          <p:cNvPr id="20" name="Rectangle 286"/>
          <p:cNvSpPr>
            <a:spLocks noChangeArrowheads="1"/>
          </p:cNvSpPr>
          <p:nvPr/>
        </p:nvSpPr>
        <p:spPr bwMode="gray">
          <a:xfrm>
            <a:off x="2063751" y="5078662"/>
            <a:ext cx="3960813" cy="1067161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flat" cmpd="sng" algn="ctr">
            <a:solidFill>
              <a:schemeClr val="accent5"/>
            </a:solidFill>
            <a:prstDash val="lg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7"/>
          <p:cNvSpPr txBox="1"/>
          <p:nvPr/>
        </p:nvSpPr>
        <p:spPr>
          <a:xfrm>
            <a:off x="2293499" y="3101998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er solutions</a:t>
            </a:r>
          </a:p>
        </p:txBody>
      </p:sp>
      <p:sp>
        <p:nvSpPr>
          <p:cNvPr id="83" name="TextBox 7"/>
          <p:cNvSpPr txBox="1"/>
          <p:nvPr/>
        </p:nvSpPr>
        <p:spPr>
          <a:xfrm>
            <a:off x="3515381" y="310199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 solutions</a:t>
            </a:r>
          </a:p>
        </p:txBody>
      </p:sp>
      <p:sp>
        <p:nvSpPr>
          <p:cNvPr id="88" name="TextBox 7"/>
          <p:cNvSpPr txBox="1"/>
          <p:nvPr/>
        </p:nvSpPr>
        <p:spPr>
          <a:xfrm>
            <a:off x="4737264" y="310199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ED solutions</a:t>
            </a:r>
          </a:p>
        </p:txBody>
      </p:sp>
      <p:sp>
        <p:nvSpPr>
          <p:cNvPr id="104" name="TextBox 7"/>
          <p:cNvSpPr txBox="1"/>
          <p:nvPr/>
        </p:nvSpPr>
        <p:spPr>
          <a:xfrm>
            <a:off x="2293499" y="388257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x</a:t>
            </a:r>
          </a:p>
        </p:txBody>
      </p:sp>
      <p:sp>
        <p:nvSpPr>
          <p:cNvPr id="106" name="TextBox 7"/>
          <p:cNvSpPr txBox="1"/>
          <p:nvPr/>
        </p:nvSpPr>
        <p:spPr>
          <a:xfrm>
            <a:off x="3515381" y="388257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 driver</a:t>
            </a:r>
          </a:p>
        </p:txBody>
      </p:sp>
      <p:sp>
        <p:nvSpPr>
          <p:cNvPr id="108" name="TextBox 7"/>
          <p:cNvSpPr txBox="1"/>
          <p:nvPr/>
        </p:nvSpPr>
        <p:spPr>
          <a:xfrm>
            <a:off x="4737264" y="388257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 Engine</a:t>
            </a:r>
          </a:p>
        </p:txBody>
      </p:sp>
      <p:sp>
        <p:nvSpPr>
          <p:cNvPr id="119" name="TextBox 7"/>
          <p:cNvSpPr txBox="1"/>
          <p:nvPr/>
        </p:nvSpPr>
        <p:spPr>
          <a:xfrm>
            <a:off x="2246044" y="5719400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o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miconductor</a:t>
            </a:r>
          </a:p>
        </p:txBody>
      </p:sp>
      <p:sp>
        <p:nvSpPr>
          <p:cNvPr id="123" name="TextBox 7"/>
          <p:cNvSpPr txBox="1"/>
          <p:nvPr/>
        </p:nvSpPr>
        <p:spPr>
          <a:xfrm>
            <a:off x="3549776" y="5710022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ty Lighting</a:t>
            </a:r>
          </a:p>
        </p:txBody>
      </p:sp>
      <p:sp>
        <p:nvSpPr>
          <p:cNvPr id="131" name="Rectangle 285"/>
          <p:cNvSpPr>
            <a:spLocks noChangeArrowheads="1"/>
          </p:cNvSpPr>
          <p:nvPr/>
        </p:nvSpPr>
        <p:spPr bwMode="gray">
          <a:xfrm>
            <a:off x="6166767" y="4828228"/>
            <a:ext cx="3960813" cy="250434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ental Business Units</a:t>
            </a:r>
          </a:p>
        </p:txBody>
      </p:sp>
      <p:sp>
        <p:nvSpPr>
          <p:cNvPr id="134" name="TextBox 7"/>
          <p:cNvSpPr txBox="1"/>
          <p:nvPr/>
        </p:nvSpPr>
        <p:spPr>
          <a:xfrm>
            <a:off x="6396515" y="310199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 Power </a:t>
            </a:r>
            <a:r>
              <a:rPr kumimoji="0" lang="en-US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CU</a:t>
            </a: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TextBox 7"/>
          <p:cNvSpPr txBox="1"/>
          <p:nvPr/>
        </p:nvSpPr>
        <p:spPr>
          <a:xfrm>
            <a:off x="7618397" y="310199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nt-Light Controller</a:t>
            </a:r>
          </a:p>
        </p:txBody>
      </p:sp>
      <p:sp>
        <p:nvSpPr>
          <p:cNvPr id="138" name="TextBox 7"/>
          <p:cNvSpPr txBox="1"/>
          <p:nvPr/>
        </p:nvSpPr>
        <p:spPr>
          <a:xfrm>
            <a:off x="8840280" y="310199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hicle Architecture</a:t>
            </a:r>
          </a:p>
        </p:txBody>
      </p:sp>
      <p:sp>
        <p:nvSpPr>
          <p:cNvPr id="141" name="TextBox 7"/>
          <p:cNvSpPr txBox="1"/>
          <p:nvPr/>
        </p:nvSpPr>
        <p:spPr>
          <a:xfrm>
            <a:off x="7007456" y="3882579"/>
            <a:ext cx="1057553" cy="194069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 integrated Module</a:t>
            </a:r>
          </a:p>
        </p:txBody>
      </p:sp>
      <p:sp>
        <p:nvSpPr>
          <p:cNvPr id="143" name="TextBox 7"/>
          <p:cNvSpPr txBox="1"/>
          <p:nvPr/>
        </p:nvSpPr>
        <p:spPr>
          <a:xfrm>
            <a:off x="8129827" y="3882578"/>
            <a:ext cx="1256577" cy="321027"/>
          </a:xfrm>
          <a:prstGeom prst="rect">
            <a:avLst/>
          </a:prstGeom>
          <a:noFill/>
        </p:spPr>
        <p:txBody>
          <a:bodyPr wrap="square" lIns="33231" tIns="33231" rIns="33231" bIns="33231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rithms for advanced Light functions</a:t>
            </a:r>
          </a:p>
        </p:txBody>
      </p:sp>
      <p:pic>
        <p:nvPicPr>
          <p:cNvPr id="169" name="Grafik 16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0" b="100000" l="0" r="100000">
                        <a14:foregroundMark x1="92537" y1="40488" x2="92537" y2="40488"/>
                        <a14:foregroundMark x1="94527" y1="48780" x2="94527" y2="48780"/>
                        <a14:foregroundMark x1="96766" y1="77561" x2="96766" y2="77561"/>
                        <a14:foregroundMark x1="88806" y1="85366" x2="88806" y2="85366"/>
                        <a14:foregroundMark x1="71891" y1="91707" x2="71891" y2="91707"/>
                        <a14:foregroundMark x1="97761" y1="97073" x2="97761" y2="97073"/>
                        <a14:foregroundMark x1="17910" y1="67317" x2="17910" y2="67317"/>
                        <a14:foregroundMark x1="17413" y1="72195" x2="17413" y2="72195"/>
                        <a14:foregroundMark x1="15672" y1="82439" x2="15672" y2="82439"/>
                        <a14:foregroundMark x1="17413" y1="78049" x2="17413" y2="78049"/>
                        <a14:foregroundMark x1="11194" y1="89756" x2="11194" y2="89756"/>
                        <a14:foregroundMark x1="10199" y1="97073" x2="10199" y2="97073"/>
                        <a14:foregroundMark x1="14179" y1="67805" x2="14179" y2="67805"/>
                        <a14:foregroundMark x1="62687" y1="92195" x2="62687" y2="92195"/>
                        <a14:foregroundMark x1="68159" y1="90244" x2="68159" y2="90244"/>
                        <a14:foregroundMark x1="82587" y1="87805" x2="82587" y2="87805"/>
                        <a14:foregroundMark x1="95522" y1="37073" x2="95522" y2="37073"/>
                        <a14:foregroundMark x1="11940" y1="79024" x2="11940" y2="7902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281" b="1281"/>
          <a:stretch>
            <a:fillRect/>
          </a:stretch>
        </p:blipFill>
        <p:spPr bwMode="auto">
          <a:xfrm flipH="1">
            <a:off x="3515381" y="2585892"/>
            <a:ext cx="1057553" cy="525484"/>
          </a:xfrm>
          <a:custGeom>
            <a:avLst/>
            <a:gdLst>
              <a:gd name="connsiteX0" fmla="*/ 1145682 w 1145682"/>
              <a:gd name="connsiteY0" fmla="*/ 0 h 569274"/>
              <a:gd name="connsiteX1" fmla="*/ 0 w 1145682"/>
              <a:gd name="connsiteY1" fmla="*/ 0 h 569274"/>
              <a:gd name="connsiteX2" fmla="*/ 0 w 1145682"/>
              <a:gd name="connsiteY2" fmla="*/ 569274 h 569274"/>
              <a:gd name="connsiteX3" fmla="*/ 1145682 w 1145682"/>
              <a:gd name="connsiteY3" fmla="*/ 569274 h 56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682" h="569274">
                <a:moveTo>
                  <a:pt x="1145682" y="0"/>
                </a:moveTo>
                <a:lnTo>
                  <a:pt x="0" y="0"/>
                </a:lnTo>
                <a:lnTo>
                  <a:pt x="0" y="569274"/>
                </a:lnTo>
                <a:lnTo>
                  <a:pt x="1145682" y="569274"/>
                </a:ln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0" name="Picture 30"/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0" b="100000" l="5455" r="94545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55687" y="5264259"/>
            <a:ext cx="638264" cy="398432"/>
          </a:xfrm>
          <a:prstGeom prst="rect">
            <a:avLst/>
          </a:prstGeom>
        </p:spPr>
      </p:pic>
      <p:pic>
        <p:nvPicPr>
          <p:cNvPr id="171" name="Grafik 170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3825047" y="5217249"/>
            <a:ext cx="398432" cy="492452"/>
          </a:xfrm>
          <a:prstGeom prst="rect">
            <a:avLst/>
          </a:prstGeom>
        </p:spPr>
      </p:pic>
      <p:pic>
        <p:nvPicPr>
          <p:cNvPr id="173" name="Picture 55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1599" y="3366472"/>
            <a:ext cx="913030" cy="525484"/>
          </a:xfrm>
          <a:prstGeom prst="rect">
            <a:avLst/>
          </a:prstGeom>
        </p:spPr>
      </p:pic>
      <p:pic>
        <p:nvPicPr>
          <p:cNvPr id="174" name="Picture 1"/>
          <p:cNvPicPr>
            <a:picLocks noChangeAspect="1" noChangeArrowheads="1"/>
          </p:cNvPicPr>
          <p:nvPr/>
        </p:nvPicPr>
        <p:blipFill>
          <a:blip r:embed="rId18" cstate="email">
            <a:lum bright="-5000" contrast="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9088" y="2585892"/>
            <a:ext cx="552407" cy="525484"/>
          </a:xfrm>
          <a:prstGeom prst="rect">
            <a:avLst/>
          </a:prstGeom>
          <a:noFill/>
          <a:effectLst>
            <a:softEdge rad="31750"/>
          </a:effectLst>
        </p:spPr>
      </p:pic>
      <p:pic>
        <p:nvPicPr>
          <p:cNvPr id="175" name="Grafik 174"/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0" b="99153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72185" y="2585892"/>
            <a:ext cx="549977" cy="525484"/>
          </a:xfrm>
          <a:prstGeom prst="rect">
            <a:avLst/>
          </a:prstGeom>
        </p:spPr>
      </p:pic>
      <p:pic>
        <p:nvPicPr>
          <p:cNvPr id="176" name="Grafik 175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3259" y="3366472"/>
            <a:ext cx="905947" cy="525484"/>
          </a:xfrm>
          <a:prstGeom prst="rect">
            <a:avLst/>
          </a:prstGeom>
        </p:spPr>
      </p:pic>
      <p:pic>
        <p:nvPicPr>
          <p:cNvPr id="177" name="Picture 3"/>
          <p:cNvPicPr>
            <a:picLocks noChangeAspect="1" noChangeArrowheads="1"/>
          </p:cNvPicPr>
          <p:nvPr/>
        </p:nvPicPr>
        <p:blipFill>
          <a:blip r:embed="rId22"/>
          <a:srcRect l="22807"/>
          <a:stretch>
            <a:fillRect/>
          </a:stretch>
        </p:blipFill>
        <p:spPr bwMode="auto">
          <a:xfrm>
            <a:off x="9040629" y="2585892"/>
            <a:ext cx="656855" cy="525484"/>
          </a:xfrm>
          <a:prstGeom prst="rect">
            <a:avLst/>
          </a:prstGeom>
          <a:gradFill rotWithShape="1">
            <a:gsLst>
              <a:gs pos="0">
                <a:srgbClr val="E65D21">
                  <a:tint val="50000"/>
                  <a:satMod val="300000"/>
                </a:srgbClr>
              </a:gs>
              <a:gs pos="35000">
                <a:srgbClr val="E65D21">
                  <a:tint val="37000"/>
                  <a:satMod val="300000"/>
                </a:srgbClr>
              </a:gs>
              <a:gs pos="100000">
                <a:srgbClr val="E65D21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E65D21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pic>
      <p:sp>
        <p:nvSpPr>
          <p:cNvPr id="5" name="Gleichschenkliges Dreieck 4"/>
          <p:cNvSpPr/>
          <p:nvPr/>
        </p:nvSpPr>
        <p:spPr bwMode="auto">
          <a:xfrm>
            <a:off x="3597590" y="4255237"/>
            <a:ext cx="893135" cy="168068"/>
          </a:xfrm>
          <a:prstGeom prst="triangl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8" name="Gleichschenkliges Dreieck 57"/>
          <p:cNvSpPr/>
          <p:nvPr/>
        </p:nvSpPr>
        <p:spPr bwMode="auto">
          <a:xfrm rot="10800000">
            <a:off x="3597590" y="4639695"/>
            <a:ext cx="893135" cy="168068"/>
          </a:xfrm>
          <a:prstGeom prst="triangl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9" name="Rectangle 285"/>
          <p:cNvSpPr>
            <a:spLocks noChangeArrowheads="1"/>
          </p:cNvSpPr>
          <p:nvPr/>
        </p:nvSpPr>
        <p:spPr bwMode="gray">
          <a:xfrm>
            <a:off x="6166767" y="4389536"/>
            <a:ext cx="3960813" cy="2889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8585A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58585A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90000" tIns="46800" rIns="90000" bIns="4680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8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nership</a:t>
            </a:r>
          </a:p>
        </p:txBody>
      </p:sp>
      <p:sp>
        <p:nvSpPr>
          <p:cNvPr id="60" name="Gleichschenkliges Dreieck 59"/>
          <p:cNvSpPr/>
          <p:nvPr/>
        </p:nvSpPr>
        <p:spPr bwMode="auto">
          <a:xfrm>
            <a:off x="7700606" y="4257734"/>
            <a:ext cx="893135" cy="168068"/>
          </a:xfrm>
          <a:prstGeom prst="triangl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1" name="Gleichschenkliges Dreieck 60"/>
          <p:cNvSpPr/>
          <p:nvPr/>
        </p:nvSpPr>
        <p:spPr bwMode="auto">
          <a:xfrm rot="10800000">
            <a:off x="7700606" y="4642192"/>
            <a:ext cx="893135" cy="168068"/>
          </a:xfrm>
          <a:prstGeom prst="triangl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2389027" y="2937108"/>
            <a:ext cx="962025" cy="1742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i AG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4832792" y="2937108"/>
            <a:ext cx="962025" cy="1742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r" defTabSz="60958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i AG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6389562" y="5673872"/>
            <a:ext cx="638510" cy="3231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dy Controller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9199855" y="5636740"/>
            <a:ext cx="638510" cy="43858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mera, Radar, </a:t>
            </a:r>
            <a:r>
              <a:rPr kumimoji="0" lang="en-US" sz="7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dar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ystems</a:t>
            </a:r>
          </a:p>
        </p:txBody>
      </p:sp>
      <p:sp>
        <p:nvSpPr>
          <p:cNvPr id="66" name="Textfeld 65"/>
          <p:cNvSpPr txBox="1"/>
          <p:nvPr/>
        </p:nvSpPr>
        <p:spPr>
          <a:xfrm>
            <a:off x="7204336" y="5673872"/>
            <a:ext cx="790118" cy="20774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d-up Display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8170719" y="5637391"/>
            <a:ext cx="683725" cy="3231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media &amp; Cloud</a:t>
            </a:r>
          </a:p>
        </p:txBody>
      </p:sp>
      <p:pic>
        <p:nvPicPr>
          <p:cNvPr id="68" name="Picture 15" descr="I:\Team\Planning_Communication\2_MarCom\Marketing Material\010_Photo Database\0_Professional Photos_June 2010\BS New Product Photos_Feb. 2011\Product Photo_Standard Shots\Body Controls\Komprimierte Bilder\Integrated BCU_trans bg_komp.png"/>
          <p:cNvPicPr>
            <a:picLocks noChangeAspect="1" noChangeArrowheads="1"/>
          </p:cNvPicPr>
          <p:nvPr/>
        </p:nvPicPr>
        <p:blipFill>
          <a:blip r:embed="rId23" cstate="screen"/>
          <a:srcRect/>
          <a:stretch>
            <a:fillRect/>
          </a:stretch>
        </p:blipFill>
        <p:spPr bwMode="auto">
          <a:xfrm>
            <a:off x="6452492" y="5272444"/>
            <a:ext cx="507602" cy="408635"/>
          </a:xfrm>
          <a:prstGeom prst="rect">
            <a:avLst/>
          </a:prstGeom>
          <a:noFill/>
        </p:spPr>
      </p:pic>
      <p:pic>
        <p:nvPicPr>
          <p:cNvPr id="69" name="Picture 10"/>
          <p:cNvPicPr>
            <a:picLocks noChangeAspect="1" noChangeArrowheads="1"/>
          </p:cNvPicPr>
          <p:nvPr/>
        </p:nvPicPr>
        <p:blipFill rotWithShape="1">
          <a:blip r:embed="rId24" cstate="screen"/>
          <a:srcRect l="9478" t="19304" r="7553" b="18016"/>
          <a:stretch/>
        </p:blipFill>
        <p:spPr bwMode="auto">
          <a:xfrm>
            <a:off x="7404509" y="5345866"/>
            <a:ext cx="401292" cy="311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" name="Grafik 69"/>
          <p:cNvPicPr>
            <a:picLocks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50" t="20621" r="22527" b="22464"/>
          <a:stretch/>
        </p:blipFill>
        <p:spPr>
          <a:xfrm>
            <a:off x="8318368" y="5378983"/>
            <a:ext cx="368921" cy="269301"/>
          </a:xfrm>
          <a:prstGeom prst="rect">
            <a:avLst/>
          </a:prstGeom>
          <a:effectLst/>
        </p:spPr>
      </p:pic>
      <p:grpSp>
        <p:nvGrpSpPr>
          <p:cNvPr id="71" name="Gruppieren 70"/>
          <p:cNvGrpSpPr/>
          <p:nvPr/>
        </p:nvGrpSpPr>
        <p:grpSpPr>
          <a:xfrm>
            <a:off x="9177108" y="5306102"/>
            <a:ext cx="750615" cy="419334"/>
            <a:chOff x="7606313" y="3698746"/>
            <a:chExt cx="750615" cy="419334"/>
          </a:xfrm>
        </p:grpSpPr>
        <p:pic>
          <p:nvPicPr>
            <p:cNvPr id="84" name="Picture 2" descr="C:\Users\uidu8661\Desktop\img_20110504_stereokamera_produkt_en.jpg"/>
            <p:cNvPicPr>
              <a:picLocks noChangeAspect="1" noChangeArrowheads="1"/>
            </p:cNvPicPr>
            <p:nvPr/>
          </p:nvPicPr>
          <p:blipFill>
            <a:blip r:embed="rId2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0000"/>
            </a:blip>
            <a:srcRect/>
            <a:stretch>
              <a:fillRect/>
            </a:stretch>
          </p:blipFill>
          <p:spPr bwMode="auto">
            <a:xfrm>
              <a:off x="7632312" y="3839831"/>
              <a:ext cx="357822" cy="27824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5" name="Grafik 84"/>
            <p:cNvPicPr>
              <a:picLocks noChangeAspect="1"/>
            </p:cNvPicPr>
            <p:nvPr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354"/>
            <a:stretch/>
          </p:blipFill>
          <p:spPr>
            <a:xfrm>
              <a:off x="7932936" y="3792953"/>
              <a:ext cx="423992" cy="25353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6" name="Picture 2" descr="D:\DSUsers\uidw0282\50 Communication\30 Media Database\04 Product Pictures\ARS400 Premium\Freigestellt\ARS400premium_frei.png"/>
            <p:cNvPicPr>
              <a:picLocks noChangeAspect="1" noChangeArrowheads="1"/>
            </p:cNvPicPr>
            <p:nvPr/>
          </p:nvPicPr>
          <p:blipFill>
            <a:blip r:embed="rId28" cstate="screen"/>
            <a:srcRect/>
            <a:stretch>
              <a:fillRect/>
            </a:stretch>
          </p:blipFill>
          <p:spPr bwMode="auto">
            <a:xfrm>
              <a:off x="7763466" y="3698746"/>
              <a:ext cx="317980" cy="2738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7" name="Rechteck 86"/>
            <p:cNvSpPr/>
            <p:nvPr/>
          </p:nvSpPr>
          <p:spPr>
            <a:xfrm>
              <a:off x="7606313" y="3729334"/>
              <a:ext cx="675668" cy="331704"/>
            </a:xfrm>
            <a:prstGeom prst="rect">
              <a:avLst/>
            </a:prstGeom>
            <a:noFill/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E6E6E6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angle 286"/>
          <p:cNvSpPr>
            <a:spLocks noChangeArrowheads="1"/>
          </p:cNvSpPr>
          <p:nvPr/>
        </p:nvSpPr>
        <p:spPr bwMode="gray">
          <a:xfrm>
            <a:off x="2063751" y="2470639"/>
            <a:ext cx="8063829" cy="1737496"/>
          </a:xfrm>
          <a:prstGeom prst="rect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2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9" name="Grafik 90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6483" y="5264259"/>
            <a:ext cx="543919" cy="398432"/>
          </a:xfrm>
          <a:prstGeom prst="rect">
            <a:avLst/>
          </a:prstGeom>
        </p:spPr>
      </p:pic>
      <p:sp>
        <p:nvSpPr>
          <p:cNvPr id="90" name="Textfeld 89"/>
          <p:cNvSpPr txBox="1"/>
          <p:nvPr/>
        </p:nvSpPr>
        <p:spPr>
          <a:xfrm>
            <a:off x="5038867" y="5710021"/>
            <a:ext cx="683725" cy="43858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ghting Solution &amp; Systems</a:t>
            </a:r>
          </a:p>
        </p:txBody>
      </p:sp>
      <p:sp>
        <p:nvSpPr>
          <p:cNvPr id="72" name="Title 1"/>
          <p:cNvSpPr>
            <a:spLocks noGrp="1"/>
          </p:cNvSpPr>
          <p:nvPr>
            <p:ph type="title"/>
          </p:nvPr>
        </p:nvSpPr>
        <p:spPr>
          <a:xfrm>
            <a:off x="226800" y="144000"/>
            <a:ext cx="11727386" cy="886397"/>
          </a:xfrm>
        </p:spPr>
        <p:txBody>
          <a:bodyPr/>
          <a:lstStyle/>
          <a:p>
            <a:r>
              <a:rPr lang="de-AT" sz="3200" dirty="0"/>
              <a:t>OSRAM Continental GmbH</a:t>
            </a:r>
            <a:br>
              <a:rPr lang="de-AT" sz="3200" dirty="0"/>
            </a:br>
            <a:r>
              <a:rPr lang="en-US" sz="3200" b="0" dirty="0">
                <a:solidFill>
                  <a:schemeClr val="tx1"/>
                </a:solidFill>
              </a:rPr>
              <a:t>Two Strong Partners Combine Competencies</a:t>
            </a:r>
          </a:p>
        </p:txBody>
      </p:sp>
      <p:pic>
        <p:nvPicPr>
          <p:cNvPr id="73" name="Grafik 72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068" y="1814689"/>
            <a:ext cx="1166533" cy="343941"/>
          </a:xfrm>
          <a:prstGeom prst="rect">
            <a:avLst/>
          </a:prstGeom>
        </p:spPr>
      </p:pic>
      <p:pic>
        <p:nvPicPr>
          <p:cNvPr id="74" name="Bild 20"/>
          <p:cNvPicPr>
            <a:picLocks noChangeAspect="1"/>
          </p:cNvPicPr>
          <p:nvPr/>
        </p:nvPicPr>
        <p:blipFill>
          <a:blip r:embed="rId31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861192" y="1778626"/>
            <a:ext cx="1652193" cy="46585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60030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gray">
          <a:xfrm>
            <a:off x="0" y="0"/>
            <a:ext cx="12192000" cy="6305909"/>
          </a:xfrm>
          <a:prstGeom prst="rect">
            <a:avLst/>
          </a:prstGeom>
          <a:solidFill>
            <a:srgbClr val="06060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Titel 12">
            <a:extLst>
              <a:ext uri="{FF2B5EF4-FFF2-40B4-BE49-F238E27FC236}">
                <a16:creationId xmlns:a16="http://schemas.microsoft.com/office/drawing/2014/main" id="{9A4C8938-90F2-4FD6-B155-1A1764A1F0FA}"/>
              </a:ext>
            </a:extLst>
          </p:cNvPr>
          <p:cNvSpPr txBox="1">
            <a:spLocks/>
          </p:cNvSpPr>
          <p:nvPr/>
        </p:nvSpPr>
        <p:spPr bwMode="gray">
          <a:xfrm>
            <a:off x="226800" y="144000"/>
            <a:ext cx="11727388" cy="886397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Osram continental covers the 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value chain from module to system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1177055" y="1500009"/>
            <a:ext cx="8210785" cy="4608553"/>
            <a:chOff x="-355909" y="2404325"/>
            <a:chExt cx="5551663" cy="3116040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-355909" y="3186018"/>
              <a:ext cx="5551663" cy="2334347"/>
            </a:xfrm>
            <a:prstGeom prst="rect">
              <a:avLst/>
            </a:prstGeom>
          </p:spPr>
        </p:pic>
        <p:grpSp>
          <p:nvGrpSpPr>
            <p:cNvPr id="6" name="Gruppieren 5"/>
            <p:cNvGrpSpPr/>
            <p:nvPr/>
          </p:nvGrpSpPr>
          <p:grpSpPr bwMode="gray">
            <a:xfrm>
              <a:off x="498092" y="2596626"/>
              <a:ext cx="4697662" cy="542114"/>
              <a:chOff x="251520" y="2389688"/>
              <a:chExt cx="4608512" cy="523880"/>
            </a:xfrm>
            <a:solidFill>
              <a:schemeClr val="accent1"/>
            </a:solidFill>
          </p:grpSpPr>
          <p:sp>
            <p:nvSpPr>
              <p:cNvPr id="9" name="AutoShape 6"/>
              <p:cNvSpPr>
                <a:spLocks noChangeArrowheads="1"/>
              </p:cNvSpPr>
              <p:nvPr/>
            </p:nvSpPr>
            <p:spPr bwMode="gray">
              <a:xfrm>
                <a:off x="251520" y="2389688"/>
                <a:ext cx="767263" cy="523880"/>
              </a:xfrm>
              <a:prstGeom prst="homePlate">
                <a:avLst>
                  <a:gd name="adj" fmla="val 20536"/>
                </a:avLst>
              </a:prstGeom>
              <a:solidFill>
                <a:schemeClr val="accent3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67500" tIns="35100" rIns="67500" bIns="35100" anchor="ctr"/>
              <a:lstStyle/>
              <a:p>
                <a:pPr algn="ctr">
                  <a:buClr>
                    <a:schemeClr val="tx1"/>
                  </a:buClr>
                </a:pPr>
                <a:r>
                  <a:rPr lang="en-US" sz="1400" b="1">
                    <a:solidFill>
                      <a:schemeClr val="bg1"/>
                    </a:solidFill>
                  </a:rPr>
                  <a:t>LED</a:t>
                </a:r>
              </a:p>
            </p:txBody>
          </p:sp>
          <p:sp>
            <p:nvSpPr>
              <p:cNvPr id="10" name="AutoShape 5"/>
              <p:cNvSpPr>
                <a:spLocks noChangeArrowheads="1"/>
              </p:cNvSpPr>
              <p:nvPr/>
            </p:nvSpPr>
            <p:spPr bwMode="gray">
              <a:xfrm>
                <a:off x="971600" y="2389688"/>
                <a:ext cx="1005515" cy="523880"/>
              </a:xfrm>
              <a:prstGeom prst="chevron">
                <a:avLst>
                  <a:gd name="adj" fmla="val 20536"/>
                </a:avLst>
              </a:prstGeom>
              <a:solidFill>
                <a:schemeClr val="accent3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67500" tIns="35100" rIns="67500" bIns="35100" anchor="ctr"/>
              <a:lstStyle/>
              <a:p>
                <a:pPr algn="ctr">
                  <a:buClr>
                    <a:schemeClr val="tx1"/>
                  </a:buClr>
                </a:pPr>
                <a:r>
                  <a:rPr lang="en-US" sz="1400" b="1">
                    <a:solidFill>
                      <a:schemeClr val="bg1"/>
                    </a:solidFill>
                  </a:rPr>
                  <a:t>Module</a:t>
                </a:r>
              </a:p>
            </p:txBody>
          </p:sp>
          <p:sp>
            <p:nvSpPr>
              <p:cNvPr id="11" name="AutoShape 5"/>
              <p:cNvSpPr>
                <a:spLocks noChangeArrowheads="1"/>
              </p:cNvSpPr>
              <p:nvPr/>
            </p:nvSpPr>
            <p:spPr bwMode="gray">
              <a:xfrm>
                <a:off x="1936589" y="2389688"/>
                <a:ext cx="1005515" cy="523880"/>
              </a:xfrm>
              <a:prstGeom prst="chevron">
                <a:avLst>
                  <a:gd name="adj" fmla="val 20536"/>
                </a:avLst>
              </a:prstGeom>
              <a:solidFill>
                <a:schemeClr val="accent3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67500" tIns="35100" rIns="67500" bIns="35100" anchor="ctr"/>
              <a:lstStyle/>
              <a:p>
                <a:pPr algn="ctr">
                  <a:buClr>
                    <a:schemeClr val="tx1"/>
                  </a:buClr>
                </a:pPr>
                <a:r>
                  <a:rPr lang="en-US" sz="1400" b="1">
                    <a:solidFill>
                      <a:schemeClr val="bg1"/>
                    </a:solidFill>
                  </a:rPr>
                  <a:t>Electronics</a:t>
                </a:r>
              </a:p>
            </p:txBody>
          </p:sp>
          <p:sp>
            <p:nvSpPr>
              <p:cNvPr id="12" name="AutoShape 5"/>
              <p:cNvSpPr>
                <a:spLocks noChangeArrowheads="1"/>
              </p:cNvSpPr>
              <p:nvPr/>
            </p:nvSpPr>
            <p:spPr bwMode="gray">
              <a:xfrm>
                <a:off x="2897528" y="2389688"/>
                <a:ext cx="1005515" cy="523880"/>
              </a:xfrm>
              <a:prstGeom prst="chevron">
                <a:avLst>
                  <a:gd name="adj" fmla="val 20536"/>
                </a:avLst>
              </a:prstGeom>
              <a:solidFill>
                <a:schemeClr val="accent3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67500" tIns="35100" rIns="67500" bIns="35100" anchor="ctr"/>
              <a:lstStyle/>
              <a:p>
                <a:pPr algn="ctr">
                  <a:buClr>
                    <a:schemeClr val="tx1"/>
                  </a:buClr>
                </a:pPr>
                <a:r>
                  <a:rPr lang="en-US" sz="1400" b="1">
                    <a:solidFill>
                      <a:schemeClr val="bg1"/>
                    </a:solidFill>
                  </a:rPr>
                  <a:t>System</a:t>
                </a:r>
              </a:p>
            </p:txBody>
          </p:sp>
          <p:sp>
            <p:nvSpPr>
              <p:cNvPr id="13" name="AutoShape 5"/>
              <p:cNvSpPr>
                <a:spLocks noChangeArrowheads="1"/>
              </p:cNvSpPr>
              <p:nvPr/>
            </p:nvSpPr>
            <p:spPr bwMode="gray">
              <a:xfrm>
                <a:off x="3851920" y="2389688"/>
                <a:ext cx="1008112" cy="523880"/>
              </a:xfrm>
              <a:prstGeom prst="chevron">
                <a:avLst>
                  <a:gd name="adj" fmla="val 20536"/>
                </a:avLst>
              </a:prstGeom>
              <a:solidFill>
                <a:schemeClr val="accent3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67500" tIns="35100" rIns="67500" bIns="35100" anchor="ctr"/>
              <a:lstStyle/>
              <a:p>
                <a:pPr algn="ctr">
                  <a:buClr>
                    <a:schemeClr val="tx1"/>
                  </a:buClr>
                </a:pPr>
                <a:r>
                  <a:rPr lang="en-US" sz="1600" b="1">
                    <a:solidFill>
                      <a:schemeClr val="bg1"/>
                    </a:solidFill>
                  </a:rPr>
                  <a:t>Fixture</a:t>
                </a:r>
              </a:p>
            </p:txBody>
          </p:sp>
        </p:grpSp>
        <p:sp>
          <p:nvSpPr>
            <p:cNvPr id="7" name="Rechteck 6"/>
            <p:cNvSpPr/>
            <p:nvPr/>
          </p:nvSpPr>
          <p:spPr bwMode="auto">
            <a:xfrm>
              <a:off x="1280197" y="2404325"/>
              <a:ext cx="2958417" cy="781693"/>
            </a:xfrm>
            <a:prstGeom prst="rect">
              <a:avLst/>
            </a:prstGeom>
            <a:noFill/>
            <a:ln w="57150" cap="flat" cmpd="sng" algn="ctr">
              <a:solidFill>
                <a:schemeClr val="tx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ctr" anchorCtr="0" compatLnSpc="1">
              <a:prstTxWarp prst="textNoShape">
                <a:avLst/>
              </a:prstTxWarp>
            </a:bodyPr>
            <a:lstStyle/>
            <a:p>
              <a:pPr defTabSz="685800">
                <a:lnSpc>
                  <a:spcPct val="110000"/>
                </a:lnSpc>
              </a:pPr>
              <a:endParaRPr lang="de-DE" sz="1200"/>
            </a:p>
          </p:txBody>
        </p:sp>
        <p:sp>
          <p:nvSpPr>
            <p:cNvPr id="8" name="TextBox 15"/>
            <p:cNvSpPr txBox="1"/>
            <p:nvPr/>
          </p:nvSpPr>
          <p:spPr>
            <a:xfrm>
              <a:off x="1744585" y="2415405"/>
              <a:ext cx="2210624" cy="181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-156059" algn="ctr">
                <a:lnSpc>
                  <a:spcPct val="110000"/>
                </a:lnSpc>
              </a:pPr>
              <a:r>
                <a:rPr lang="en-US" sz="1125" b="1">
                  <a:solidFill>
                    <a:schemeClr val="bg1"/>
                  </a:solidFill>
                </a:rPr>
                <a:t>OSRAM</a:t>
              </a:r>
              <a:r>
                <a:rPr lang="en-US" sz="1125" b="1"/>
                <a:t> </a:t>
              </a:r>
              <a:r>
                <a:rPr lang="en-US" sz="1125" b="1">
                  <a:solidFill>
                    <a:schemeClr val="bg1"/>
                  </a:solidFill>
                </a:rPr>
                <a:t>Continental GmbH</a:t>
              </a:r>
            </a:p>
          </p:txBody>
        </p:sp>
      </p:grpSp>
      <p:sp>
        <p:nvSpPr>
          <p:cNvPr id="14" name="Textfeld 13"/>
          <p:cNvSpPr txBox="1"/>
          <p:nvPr/>
        </p:nvSpPr>
        <p:spPr>
          <a:xfrm>
            <a:off x="3596819" y="3312537"/>
            <a:ext cx="7544048" cy="2404059"/>
          </a:xfrm>
          <a:prstGeom prst="rect">
            <a:avLst/>
          </a:prstGeom>
          <a:solidFill>
            <a:srgbClr val="000000">
              <a:alpha val="25098"/>
            </a:srgbClr>
          </a:solidFill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Aft>
                <a:spcPts val="554"/>
              </a:spcAft>
              <a:buClr>
                <a:srgbClr val="FFC000"/>
              </a:buClr>
            </a:pPr>
            <a:r>
              <a:rPr lang="en-US" sz="1400" b="1">
                <a:solidFill>
                  <a:schemeClr val="bg1"/>
                </a:solidFill>
              </a:rPr>
              <a:t>Perfect combination of lighting and electronics know-how to meet customer demands</a:t>
            </a:r>
          </a:p>
          <a:p>
            <a:pPr marL="285750" indent="-285750">
              <a:lnSpc>
                <a:spcPct val="110000"/>
              </a:lnSpc>
              <a:spcAft>
                <a:spcPts val="554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chemeClr val="bg1"/>
                </a:solidFill>
              </a:rPr>
              <a:t>Leverage complementing R&amp;D capabilities </a:t>
            </a:r>
          </a:p>
          <a:p>
            <a:pPr marL="285750" indent="-285750">
              <a:lnSpc>
                <a:spcPct val="110000"/>
              </a:lnSpc>
              <a:spcAft>
                <a:spcPts val="554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chemeClr val="bg1"/>
                </a:solidFill>
              </a:rPr>
              <a:t>Innovative lighting solutions which serve exactly their customer’s needs</a:t>
            </a:r>
          </a:p>
          <a:p>
            <a:pPr marL="285750" indent="-285750">
              <a:lnSpc>
                <a:spcPct val="110000"/>
              </a:lnSpc>
              <a:spcAft>
                <a:spcPts val="554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chemeClr val="bg1"/>
                </a:solidFill>
              </a:rPr>
              <a:t>Enable customer product offering and save their R&amp;D resources</a:t>
            </a:r>
          </a:p>
          <a:p>
            <a:pPr marL="285750" indent="-285750">
              <a:lnSpc>
                <a:spcPct val="110000"/>
              </a:lnSpc>
              <a:spcAft>
                <a:spcPts val="554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chemeClr val="bg1"/>
                </a:solidFill>
              </a:rPr>
              <a:t>Parallel development of light, electronics, and software will fuel innovation and shorten time to market</a:t>
            </a:r>
          </a:p>
          <a:p>
            <a:pPr marL="285750" indent="-285750">
              <a:lnSpc>
                <a:spcPct val="110000"/>
              </a:lnSpc>
              <a:spcAft>
                <a:spcPts val="554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chemeClr val="bg1"/>
                </a:solidFill>
              </a:rPr>
              <a:t>Benefit from parents lighting and complete vehicle system know how</a:t>
            </a:r>
          </a:p>
          <a:p>
            <a:pPr marL="285750" indent="-285750">
              <a:lnSpc>
                <a:spcPct val="110000"/>
              </a:lnSpc>
              <a:spcAft>
                <a:spcPts val="554"/>
              </a:spcAft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chemeClr val="bg1"/>
                </a:solidFill>
              </a:rPr>
              <a:t>Global footprint and strong relation to major automotive customers</a:t>
            </a:r>
          </a:p>
        </p:txBody>
      </p:sp>
    </p:spTree>
    <p:extLst>
      <p:ext uri="{BB962C8B-B14F-4D97-AF65-F5344CB8AC3E}">
        <p14:creationId xmlns:p14="http://schemas.microsoft.com/office/powerpoint/2010/main" val="166660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chtungspfeil 20">
            <a:extLst>
              <a:ext uri="{FF2B5EF4-FFF2-40B4-BE49-F238E27FC236}">
                <a16:creationId xmlns:a16="http://schemas.microsoft.com/office/drawing/2014/main" id="{8C9A40D0-1A40-40D1-9F71-8526A0190359}"/>
              </a:ext>
            </a:extLst>
          </p:cNvPr>
          <p:cNvSpPr/>
          <p:nvPr/>
        </p:nvSpPr>
        <p:spPr>
          <a:xfrm>
            <a:off x="5109071" y="2544325"/>
            <a:ext cx="988165" cy="267256"/>
          </a:xfrm>
          <a:prstGeom prst="homePlate">
            <a:avLst>
              <a:gd name="adj" fmla="val 0"/>
            </a:avLst>
          </a:prstGeom>
          <a:solidFill>
            <a:srgbClr val="FF6600"/>
          </a:solidFill>
          <a:ln w="28575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77" err="1">
              <a:solidFill>
                <a:srgbClr val="EBEBEB">
                  <a:lumMod val="10000"/>
                </a:srgbClr>
              </a:solidFill>
              <a:latin typeface="Arial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EDA67FA-8075-4363-B12F-EA69EDF35E98}"/>
              </a:ext>
            </a:extLst>
          </p:cNvPr>
          <p:cNvSpPr/>
          <p:nvPr/>
        </p:nvSpPr>
        <p:spPr bwMode="auto">
          <a:xfrm>
            <a:off x="2221168" y="1630377"/>
            <a:ext cx="988721" cy="924283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83077" tIns="43200" rIns="83077" bIns="43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477">
              <a:latin typeface="Arial" charset="0"/>
              <a:cs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FEC806A-298B-43E2-90F4-439D38D5F9D5}"/>
              </a:ext>
            </a:extLst>
          </p:cNvPr>
          <p:cNvSpPr/>
          <p:nvPr/>
        </p:nvSpPr>
        <p:spPr bwMode="auto">
          <a:xfrm>
            <a:off x="3666454" y="1627348"/>
            <a:ext cx="988721" cy="924283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83077" tIns="43200" rIns="83077" bIns="43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477">
              <a:latin typeface="Arial" charset="0"/>
              <a:cs typeface="Arial" charset="0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4DF6ECDC-D042-4542-A152-B482184DD9D9}"/>
              </a:ext>
            </a:extLst>
          </p:cNvPr>
          <p:cNvSpPr txBox="1">
            <a:spLocks/>
          </p:cNvSpPr>
          <p:nvPr/>
        </p:nvSpPr>
        <p:spPr bwMode="gray">
          <a:xfrm>
            <a:off x="81649" y="104775"/>
            <a:ext cx="11726863" cy="88741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lt1"/>
                </a:solidFill>
              </a:rPr>
              <a:t>Intelligent Lighting Functions</a:t>
            </a:r>
            <a:br>
              <a:rPr lang="en-US">
                <a:solidFill>
                  <a:schemeClr val="lt1"/>
                </a:solidFill>
              </a:rPr>
            </a:br>
            <a:r>
              <a:rPr lang="en-US" b="0">
                <a:solidFill>
                  <a:schemeClr val="lt1"/>
                </a:solidFill>
              </a:rPr>
              <a:t>Integrated, Adaptive, Intelligent</a:t>
            </a:r>
          </a:p>
        </p:txBody>
      </p:sp>
      <p:pic>
        <p:nvPicPr>
          <p:cNvPr id="6" name="Picture 37">
            <a:extLst>
              <a:ext uri="{FF2B5EF4-FFF2-40B4-BE49-F238E27FC236}">
                <a16:creationId xmlns:a16="http://schemas.microsoft.com/office/drawing/2014/main" id="{E80191D3-E7C1-48A3-9AF3-4FFA63BAEA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3687" y="1772712"/>
            <a:ext cx="894257" cy="60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F9F3143-C5D3-4AEA-9EFF-3C24C649E0B8}"/>
              </a:ext>
            </a:extLst>
          </p:cNvPr>
          <p:cNvSpPr/>
          <p:nvPr/>
        </p:nvSpPr>
        <p:spPr bwMode="auto">
          <a:xfrm>
            <a:off x="5108515" y="1627349"/>
            <a:ext cx="988721" cy="924283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83077" tIns="43200" rIns="83077" bIns="43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477">
              <a:latin typeface="Arial" charset="0"/>
              <a:cs typeface="Arial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44C7425-653C-4246-BBCC-6AA7418358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0703" y="1861921"/>
            <a:ext cx="822242" cy="45514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CDFDF33-71C2-473F-894B-E82E43E6DFE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7390" y="1705806"/>
            <a:ext cx="922990" cy="711443"/>
          </a:xfrm>
          <a:prstGeom prst="rect">
            <a:avLst/>
          </a:prstGeom>
        </p:spPr>
      </p:pic>
      <p:pic>
        <p:nvPicPr>
          <p:cNvPr id="10" name="Bild 3">
            <a:extLst>
              <a:ext uri="{FF2B5EF4-FFF2-40B4-BE49-F238E27FC236}">
                <a16:creationId xmlns:a16="http://schemas.microsoft.com/office/drawing/2014/main" id="{4A63D079-9AF5-47C0-A331-1310B1333D8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1404" y="3030186"/>
            <a:ext cx="3910818" cy="2323983"/>
          </a:xfrm>
          <a:prstGeom prst="rect">
            <a:avLst/>
          </a:prstGeom>
        </p:spPr>
      </p:pic>
      <p:pic>
        <p:nvPicPr>
          <p:cNvPr id="11" name="Bild 15">
            <a:extLst>
              <a:ext uri="{FF2B5EF4-FFF2-40B4-BE49-F238E27FC236}">
                <a16:creationId xmlns:a16="http://schemas.microsoft.com/office/drawing/2014/main" id="{94AF37E6-50FD-4D4C-B684-B271C04B9F8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8834" y="3027474"/>
            <a:ext cx="3910818" cy="2323983"/>
          </a:xfrm>
          <a:prstGeom prst="rect">
            <a:avLst/>
          </a:prstGeom>
        </p:spPr>
      </p:pic>
      <p:sp>
        <p:nvSpPr>
          <p:cNvPr id="12" name="Richtungspfeil 16">
            <a:extLst>
              <a:ext uri="{FF2B5EF4-FFF2-40B4-BE49-F238E27FC236}">
                <a16:creationId xmlns:a16="http://schemas.microsoft.com/office/drawing/2014/main" id="{6DAA2863-4A57-4ABF-B97A-9F10D8F61008}"/>
              </a:ext>
            </a:extLst>
          </p:cNvPr>
          <p:cNvSpPr/>
          <p:nvPr/>
        </p:nvSpPr>
        <p:spPr>
          <a:xfrm>
            <a:off x="2222078" y="2554223"/>
            <a:ext cx="987171" cy="267256"/>
          </a:xfrm>
          <a:prstGeom prst="homePlate">
            <a:avLst>
              <a:gd name="adj" fmla="val 0"/>
            </a:avLst>
          </a:prstGeom>
          <a:solidFill>
            <a:srgbClr val="FF6600"/>
          </a:solidFill>
          <a:ln w="28575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77" err="1">
              <a:solidFill>
                <a:srgbClr val="EBEBEB">
                  <a:lumMod val="10000"/>
                </a:srgbClr>
              </a:solidFill>
              <a:latin typeface="Arial"/>
            </a:endParaRP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B3CC2250-34C3-4987-B862-0991DE1D8F75}"/>
              </a:ext>
            </a:extLst>
          </p:cNvPr>
          <p:cNvSpPr txBox="1"/>
          <p:nvPr/>
        </p:nvSpPr>
        <p:spPr>
          <a:xfrm>
            <a:off x="2509602" y="2550356"/>
            <a:ext cx="441147" cy="2343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23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Light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137ED962-44B5-4C15-A1DB-699A35D2A4BF}"/>
              </a:ext>
            </a:extLst>
          </p:cNvPr>
          <p:cNvSpPr txBox="1"/>
          <p:nvPr/>
        </p:nvSpPr>
        <p:spPr>
          <a:xfrm>
            <a:off x="3256491" y="2422329"/>
            <a:ext cx="378630" cy="49013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585">
                <a:solidFill>
                  <a:srgbClr val="FF6600"/>
                </a:solidFill>
                <a:latin typeface="Arial" charset="0"/>
                <a:ea typeface="Arial" charset="0"/>
                <a:cs typeface="Arial" charset="0"/>
              </a:rPr>
              <a:t>+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DBD910B9-AF38-44FE-BB84-079C6EFED5AD}"/>
              </a:ext>
            </a:extLst>
          </p:cNvPr>
          <p:cNvSpPr txBox="1"/>
          <p:nvPr/>
        </p:nvSpPr>
        <p:spPr>
          <a:xfrm>
            <a:off x="4683199" y="2422508"/>
            <a:ext cx="378630" cy="49013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en-US" sz="2585">
                <a:solidFill>
                  <a:srgbClr val="FF6600"/>
                </a:solidFill>
                <a:latin typeface="Arial" charset="0"/>
                <a:ea typeface="Arial" charset="0"/>
                <a:cs typeface="Arial" charset="0"/>
              </a:rPr>
              <a:t>=</a:t>
            </a:r>
          </a:p>
        </p:txBody>
      </p:sp>
      <p:sp>
        <p:nvSpPr>
          <p:cNvPr id="16" name="TextBox 29">
            <a:extLst>
              <a:ext uri="{FF2B5EF4-FFF2-40B4-BE49-F238E27FC236}">
                <a16:creationId xmlns:a16="http://schemas.microsoft.com/office/drawing/2014/main" id="{9942BD95-1BB1-4450-A469-7122704B36A3}"/>
              </a:ext>
            </a:extLst>
          </p:cNvPr>
          <p:cNvSpPr txBox="1"/>
          <p:nvPr/>
        </p:nvSpPr>
        <p:spPr>
          <a:xfrm>
            <a:off x="6839494" y="1884670"/>
            <a:ext cx="1532792" cy="54694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2954" b="1">
                <a:solidFill>
                  <a:srgbClr val="FF6600"/>
                </a:solidFill>
                <a:latin typeface="Arial" charset="0"/>
                <a:ea typeface="Arial" charset="0"/>
                <a:cs typeface="Arial" charset="0"/>
              </a:rPr>
              <a:t>Light ...</a:t>
            </a:r>
          </a:p>
        </p:txBody>
      </p:sp>
      <p:sp>
        <p:nvSpPr>
          <p:cNvPr id="17" name="TextBox 30">
            <a:extLst>
              <a:ext uri="{FF2B5EF4-FFF2-40B4-BE49-F238E27FC236}">
                <a16:creationId xmlns:a16="http://schemas.microsoft.com/office/drawing/2014/main" id="{D44CB52F-E91C-4A35-9EC6-836CB144CA08}"/>
              </a:ext>
            </a:extLst>
          </p:cNvPr>
          <p:cNvSpPr txBox="1"/>
          <p:nvPr/>
        </p:nvSpPr>
        <p:spPr>
          <a:xfrm>
            <a:off x="6834960" y="2415079"/>
            <a:ext cx="2985113" cy="6604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46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... </a:t>
            </a:r>
            <a:r>
              <a:rPr lang="en-US" sz="1846" b="1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merged</a:t>
            </a:r>
            <a:r>
              <a:rPr lang="en-US" sz="1846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 with electronics</a:t>
            </a:r>
          </a:p>
          <a:p>
            <a:r>
              <a:rPr lang="en-US" sz="1846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and getting embedded ...</a:t>
            </a:r>
          </a:p>
        </p:txBody>
      </p:sp>
      <p:sp>
        <p:nvSpPr>
          <p:cNvPr id="18" name="TextBox 31">
            <a:extLst>
              <a:ext uri="{FF2B5EF4-FFF2-40B4-BE49-F238E27FC236}">
                <a16:creationId xmlns:a16="http://schemas.microsoft.com/office/drawing/2014/main" id="{29CA2892-5931-4254-9050-9263C6CF958B}"/>
              </a:ext>
            </a:extLst>
          </p:cNvPr>
          <p:cNvSpPr txBox="1"/>
          <p:nvPr/>
        </p:nvSpPr>
        <p:spPr>
          <a:xfrm>
            <a:off x="6839494" y="3067002"/>
            <a:ext cx="2973891" cy="6604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46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... </a:t>
            </a:r>
            <a:r>
              <a:rPr lang="en-US" sz="1846" b="1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connected</a:t>
            </a:r>
            <a:r>
              <a:rPr lang="en-US" sz="1846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 to board</a:t>
            </a:r>
          </a:p>
          <a:p>
            <a:r>
              <a:rPr lang="en-US" sz="1846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electronics and systems ...</a:t>
            </a:r>
          </a:p>
        </p:txBody>
      </p:sp>
      <p:sp>
        <p:nvSpPr>
          <p:cNvPr id="19" name="TextBox 32">
            <a:extLst>
              <a:ext uri="{FF2B5EF4-FFF2-40B4-BE49-F238E27FC236}">
                <a16:creationId xmlns:a16="http://schemas.microsoft.com/office/drawing/2014/main" id="{ABC0243E-B72F-462B-8546-65083ED0E4C4}"/>
              </a:ext>
            </a:extLst>
          </p:cNvPr>
          <p:cNvSpPr txBox="1"/>
          <p:nvPr/>
        </p:nvSpPr>
        <p:spPr>
          <a:xfrm>
            <a:off x="6834958" y="3684580"/>
            <a:ext cx="1643399" cy="37638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846">
                <a:solidFill>
                  <a:srgbClr val="FF6600"/>
                </a:solidFill>
                <a:latin typeface="Arial" charset="0"/>
                <a:ea typeface="Arial" charset="0"/>
                <a:cs typeface="Arial" charset="0"/>
              </a:rPr>
              <a:t>... is </a:t>
            </a:r>
            <a:r>
              <a:rPr lang="en-US" sz="1846" b="1">
                <a:solidFill>
                  <a:srgbClr val="FF6600"/>
                </a:solidFill>
                <a:latin typeface="Arial" charset="0"/>
                <a:ea typeface="Arial" charset="0"/>
                <a:cs typeface="Arial" charset="0"/>
              </a:rPr>
              <a:t>adaptive</a:t>
            </a:r>
          </a:p>
        </p:txBody>
      </p:sp>
      <p:sp>
        <p:nvSpPr>
          <p:cNvPr id="20" name="Trapez 34">
            <a:extLst>
              <a:ext uri="{FF2B5EF4-FFF2-40B4-BE49-F238E27FC236}">
                <a16:creationId xmlns:a16="http://schemas.microsoft.com/office/drawing/2014/main" id="{EE295CF6-40E9-4FD5-A6B9-641B3787241B}"/>
              </a:ext>
            </a:extLst>
          </p:cNvPr>
          <p:cNvSpPr/>
          <p:nvPr/>
        </p:nvSpPr>
        <p:spPr>
          <a:xfrm>
            <a:off x="4980293" y="4530624"/>
            <a:ext cx="3457670" cy="1309406"/>
          </a:xfrm>
          <a:custGeom>
            <a:avLst/>
            <a:gdLst>
              <a:gd name="connsiteX0" fmla="*/ 0 w 720080"/>
              <a:gd name="connsiteY0" fmla="*/ 719608 h 719608"/>
              <a:gd name="connsiteX1" fmla="*/ 179902 w 720080"/>
              <a:gd name="connsiteY1" fmla="*/ 0 h 719608"/>
              <a:gd name="connsiteX2" fmla="*/ 540178 w 720080"/>
              <a:gd name="connsiteY2" fmla="*/ 0 h 719608"/>
              <a:gd name="connsiteX3" fmla="*/ 720080 w 720080"/>
              <a:gd name="connsiteY3" fmla="*/ 719608 h 719608"/>
              <a:gd name="connsiteX4" fmla="*/ 0 w 720080"/>
              <a:gd name="connsiteY4" fmla="*/ 719608 h 719608"/>
              <a:gd name="connsiteX0" fmla="*/ 734498 w 1454578"/>
              <a:gd name="connsiteY0" fmla="*/ 1435225 h 1435225"/>
              <a:gd name="connsiteX1" fmla="*/ 0 w 1454578"/>
              <a:gd name="connsiteY1" fmla="*/ 0 h 1435225"/>
              <a:gd name="connsiteX2" fmla="*/ 1274676 w 1454578"/>
              <a:gd name="connsiteY2" fmla="*/ 715617 h 1435225"/>
              <a:gd name="connsiteX3" fmla="*/ 1454578 w 1454578"/>
              <a:gd name="connsiteY3" fmla="*/ 1435225 h 1435225"/>
              <a:gd name="connsiteX4" fmla="*/ 734498 w 1454578"/>
              <a:gd name="connsiteY4" fmla="*/ 1435225 h 1435225"/>
              <a:gd name="connsiteX0" fmla="*/ 734498 w 1454578"/>
              <a:gd name="connsiteY0" fmla="*/ 1435226 h 1435226"/>
              <a:gd name="connsiteX1" fmla="*/ 0 w 1454578"/>
              <a:gd name="connsiteY1" fmla="*/ 1 h 1435226"/>
              <a:gd name="connsiteX2" fmla="*/ 211189 w 1454578"/>
              <a:gd name="connsiteY2" fmla="*/ 0 h 1435226"/>
              <a:gd name="connsiteX3" fmla="*/ 1454578 w 1454578"/>
              <a:gd name="connsiteY3" fmla="*/ 1435226 h 1435226"/>
              <a:gd name="connsiteX4" fmla="*/ 734498 w 1454578"/>
              <a:gd name="connsiteY4" fmla="*/ 1435226 h 1435226"/>
              <a:gd name="connsiteX0" fmla="*/ 734498 w 2905691"/>
              <a:gd name="connsiteY0" fmla="*/ 1435226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734498 w 2905691"/>
              <a:gd name="connsiteY4" fmla="*/ 1435226 h 1435226"/>
              <a:gd name="connsiteX0" fmla="*/ 1310968 w 2905691"/>
              <a:gd name="connsiteY0" fmla="*/ 1365652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1310968 w 2905691"/>
              <a:gd name="connsiteY4" fmla="*/ 1365652 h 1435226"/>
              <a:gd name="connsiteX0" fmla="*/ 1310968 w 3015021"/>
              <a:gd name="connsiteY0" fmla="*/ 1365652 h 1385531"/>
              <a:gd name="connsiteX1" fmla="*/ 0 w 3015021"/>
              <a:gd name="connsiteY1" fmla="*/ 1 h 1385531"/>
              <a:gd name="connsiteX2" fmla="*/ 211189 w 3015021"/>
              <a:gd name="connsiteY2" fmla="*/ 0 h 1385531"/>
              <a:gd name="connsiteX3" fmla="*/ 3015021 w 3015021"/>
              <a:gd name="connsiteY3" fmla="*/ 1385531 h 1385531"/>
              <a:gd name="connsiteX4" fmla="*/ 1310968 w 3015021"/>
              <a:gd name="connsiteY4" fmla="*/ 1365652 h 1385531"/>
              <a:gd name="connsiteX0" fmla="*/ 1310968 w 3183986"/>
              <a:gd name="connsiteY0" fmla="*/ 1365652 h 1385531"/>
              <a:gd name="connsiteX1" fmla="*/ 0 w 3183986"/>
              <a:gd name="connsiteY1" fmla="*/ 1 h 1385531"/>
              <a:gd name="connsiteX2" fmla="*/ 211189 w 3183986"/>
              <a:gd name="connsiteY2" fmla="*/ 0 h 1385531"/>
              <a:gd name="connsiteX3" fmla="*/ 3183986 w 3183986"/>
              <a:gd name="connsiteY3" fmla="*/ 1385531 h 1385531"/>
              <a:gd name="connsiteX4" fmla="*/ 1310968 w 3183986"/>
              <a:gd name="connsiteY4" fmla="*/ 1365652 h 1385531"/>
              <a:gd name="connsiteX0" fmla="*/ 1310968 w 3183986"/>
              <a:gd name="connsiteY0" fmla="*/ 1415348 h 1435227"/>
              <a:gd name="connsiteX1" fmla="*/ 0 w 3183986"/>
              <a:gd name="connsiteY1" fmla="*/ 49697 h 1435227"/>
              <a:gd name="connsiteX2" fmla="*/ 201250 w 3183986"/>
              <a:gd name="connsiteY2" fmla="*/ 0 h 1435227"/>
              <a:gd name="connsiteX3" fmla="*/ 3183986 w 3183986"/>
              <a:gd name="connsiteY3" fmla="*/ 1435227 h 1435227"/>
              <a:gd name="connsiteX4" fmla="*/ 1310968 w 3183986"/>
              <a:gd name="connsiteY4" fmla="*/ 1415348 h 1435227"/>
              <a:gd name="connsiteX0" fmla="*/ 1271212 w 3144230"/>
              <a:gd name="connsiteY0" fmla="*/ 1415348 h 1435227"/>
              <a:gd name="connsiteX1" fmla="*/ 0 w 3144230"/>
              <a:gd name="connsiteY1" fmla="*/ 29819 h 1435227"/>
              <a:gd name="connsiteX2" fmla="*/ 161494 w 3144230"/>
              <a:gd name="connsiteY2" fmla="*/ 0 h 1435227"/>
              <a:gd name="connsiteX3" fmla="*/ 3144230 w 3144230"/>
              <a:gd name="connsiteY3" fmla="*/ 1435227 h 1435227"/>
              <a:gd name="connsiteX4" fmla="*/ 1271212 w 3144230"/>
              <a:gd name="connsiteY4" fmla="*/ 1415348 h 1435227"/>
              <a:gd name="connsiteX0" fmla="*/ 1271212 w 3144230"/>
              <a:gd name="connsiteY0" fmla="*/ 1418523 h 1438402"/>
              <a:gd name="connsiteX1" fmla="*/ 0 w 3144230"/>
              <a:gd name="connsiteY1" fmla="*/ 32994 h 1438402"/>
              <a:gd name="connsiteX2" fmla="*/ 113869 w 3144230"/>
              <a:gd name="connsiteY2" fmla="*/ 0 h 1438402"/>
              <a:gd name="connsiteX3" fmla="*/ 3144230 w 3144230"/>
              <a:gd name="connsiteY3" fmla="*/ 1438402 h 1438402"/>
              <a:gd name="connsiteX4" fmla="*/ 1271212 w 3144230"/>
              <a:gd name="connsiteY4" fmla="*/ 1418523 h 1438402"/>
              <a:gd name="connsiteX0" fmla="*/ 1271212 w 3609451"/>
              <a:gd name="connsiteY0" fmla="*/ 1418523 h 1418523"/>
              <a:gd name="connsiteX1" fmla="*/ 0 w 3609451"/>
              <a:gd name="connsiteY1" fmla="*/ 32994 h 1418523"/>
              <a:gd name="connsiteX2" fmla="*/ 113869 w 3609451"/>
              <a:gd name="connsiteY2" fmla="*/ 0 h 1418523"/>
              <a:gd name="connsiteX3" fmla="*/ 3609451 w 3609451"/>
              <a:gd name="connsiteY3" fmla="*/ 1414339 h 1418523"/>
              <a:gd name="connsiteX4" fmla="*/ 1271212 w 3609451"/>
              <a:gd name="connsiteY4" fmla="*/ 1418523 h 1418523"/>
              <a:gd name="connsiteX0" fmla="*/ 1271212 w 3400903"/>
              <a:gd name="connsiteY0" fmla="*/ 1418523 h 1422360"/>
              <a:gd name="connsiteX1" fmla="*/ 0 w 3400903"/>
              <a:gd name="connsiteY1" fmla="*/ 32994 h 1422360"/>
              <a:gd name="connsiteX2" fmla="*/ 113869 w 3400903"/>
              <a:gd name="connsiteY2" fmla="*/ 0 h 1422360"/>
              <a:gd name="connsiteX3" fmla="*/ 3400903 w 3400903"/>
              <a:gd name="connsiteY3" fmla="*/ 1422360 h 1422360"/>
              <a:gd name="connsiteX4" fmla="*/ 1271212 w 3400903"/>
              <a:gd name="connsiteY4" fmla="*/ 1418523 h 1422360"/>
              <a:gd name="connsiteX0" fmla="*/ 1271212 w 3745809"/>
              <a:gd name="connsiteY0" fmla="*/ 1418523 h 1418523"/>
              <a:gd name="connsiteX1" fmla="*/ 0 w 3745809"/>
              <a:gd name="connsiteY1" fmla="*/ 32994 h 1418523"/>
              <a:gd name="connsiteX2" fmla="*/ 113869 w 3745809"/>
              <a:gd name="connsiteY2" fmla="*/ 0 h 1418523"/>
              <a:gd name="connsiteX3" fmla="*/ 3745809 w 3745809"/>
              <a:gd name="connsiteY3" fmla="*/ 1414339 h 1418523"/>
              <a:gd name="connsiteX4" fmla="*/ 1271212 w 3745809"/>
              <a:gd name="connsiteY4" fmla="*/ 1418523 h 1418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5809" h="1418523">
                <a:moveTo>
                  <a:pt x="1271212" y="1418523"/>
                </a:moveTo>
                <a:lnTo>
                  <a:pt x="0" y="32994"/>
                </a:lnTo>
                <a:lnTo>
                  <a:pt x="113869" y="0"/>
                </a:lnTo>
                <a:lnTo>
                  <a:pt x="3745809" y="1414339"/>
                </a:lnTo>
                <a:lnTo>
                  <a:pt x="1271212" y="1418523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lumMod val="5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Trapez 34">
            <a:extLst>
              <a:ext uri="{FF2B5EF4-FFF2-40B4-BE49-F238E27FC236}">
                <a16:creationId xmlns:a16="http://schemas.microsoft.com/office/drawing/2014/main" id="{525B09E9-B839-47C5-BB5E-DC91142F59F4}"/>
              </a:ext>
            </a:extLst>
          </p:cNvPr>
          <p:cNvSpPr/>
          <p:nvPr/>
        </p:nvSpPr>
        <p:spPr>
          <a:xfrm>
            <a:off x="5998292" y="4173394"/>
            <a:ext cx="3841374" cy="1668246"/>
          </a:xfrm>
          <a:custGeom>
            <a:avLst/>
            <a:gdLst>
              <a:gd name="connsiteX0" fmla="*/ 0 w 720080"/>
              <a:gd name="connsiteY0" fmla="*/ 719608 h 719608"/>
              <a:gd name="connsiteX1" fmla="*/ 179902 w 720080"/>
              <a:gd name="connsiteY1" fmla="*/ 0 h 719608"/>
              <a:gd name="connsiteX2" fmla="*/ 540178 w 720080"/>
              <a:gd name="connsiteY2" fmla="*/ 0 h 719608"/>
              <a:gd name="connsiteX3" fmla="*/ 720080 w 720080"/>
              <a:gd name="connsiteY3" fmla="*/ 719608 h 719608"/>
              <a:gd name="connsiteX4" fmla="*/ 0 w 720080"/>
              <a:gd name="connsiteY4" fmla="*/ 719608 h 719608"/>
              <a:gd name="connsiteX0" fmla="*/ 734498 w 1454578"/>
              <a:gd name="connsiteY0" fmla="*/ 1435225 h 1435225"/>
              <a:gd name="connsiteX1" fmla="*/ 0 w 1454578"/>
              <a:gd name="connsiteY1" fmla="*/ 0 h 1435225"/>
              <a:gd name="connsiteX2" fmla="*/ 1274676 w 1454578"/>
              <a:gd name="connsiteY2" fmla="*/ 715617 h 1435225"/>
              <a:gd name="connsiteX3" fmla="*/ 1454578 w 1454578"/>
              <a:gd name="connsiteY3" fmla="*/ 1435225 h 1435225"/>
              <a:gd name="connsiteX4" fmla="*/ 734498 w 1454578"/>
              <a:gd name="connsiteY4" fmla="*/ 1435225 h 1435225"/>
              <a:gd name="connsiteX0" fmla="*/ 734498 w 1454578"/>
              <a:gd name="connsiteY0" fmla="*/ 1435226 h 1435226"/>
              <a:gd name="connsiteX1" fmla="*/ 0 w 1454578"/>
              <a:gd name="connsiteY1" fmla="*/ 1 h 1435226"/>
              <a:gd name="connsiteX2" fmla="*/ 211189 w 1454578"/>
              <a:gd name="connsiteY2" fmla="*/ 0 h 1435226"/>
              <a:gd name="connsiteX3" fmla="*/ 1454578 w 1454578"/>
              <a:gd name="connsiteY3" fmla="*/ 1435226 h 1435226"/>
              <a:gd name="connsiteX4" fmla="*/ 734498 w 1454578"/>
              <a:gd name="connsiteY4" fmla="*/ 1435226 h 1435226"/>
              <a:gd name="connsiteX0" fmla="*/ 734498 w 2905691"/>
              <a:gd name="connsiteY0" fmla="*/ 1435226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734498 w 2905691"/>
              <a:gd name="connsiteY4" fmla="*/ 1435226 h 1435226"/>
              <a:gd name="connsiteX0" fmla="*/ 1310968 w 2905691"/>
              <a:gd name="connsiteY0" fmla="*/ 1365652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1310968 w 2905691"/>
              <a:gd name="connsiteY4" fmla="*/ 1365652 h 1435226"/>
              <a:gd name="connsiteX0" fmla="*/ 1310968 w 3015021"/>
              <a:gd name="connsiteY0" fmla="*/ 1365652 h 1385531"/>
              <a:gd name="connsiteX1" fmla="*/ 0 w 3015021"/>
              <a:gd name="connsiteY1" fmla="*/ 1 h 1385531"/>
              <a:gd name="connsiteX2" fmla="*/ 211189 w 3015021"/>
              <a:gd name="connsiteY2" fmla="*/ 0 h 1385531"/>
              <a:gd name="connsiteX3" fmla="*/ 3015021 w 3015021"/>
              <a:gd name="connsiteY3" fmla="*/ 1385531 h 1385531"/>
              <a:gd name="connsiteX4" fmla="*/ 1310968 w 3015021"/>
              <a:gd name="connsiteY4" fmla="*/ 1365652 h 1385531"/>
              <a:gd name="connsiteX0" fmla="*/ 1310968 w 3183986"/>
              <a:gd name="connsiteY0" fmla="*/ 1365652 h 1385531"/>
              <a:gd name="connsiteX1" fmla="*/ 0 w 3183986"/>
              <a:gd name="connsiteY1" fmla="*/ 1 h 1385531"/>
              <a:gd name="connsiteX2" fmla="*/ 211189 w 3183986"/>
              <a:gd name="connsiteY2" fmla="*/ 0 h 1385531"/>
              <a:gd name="connsiteX3" fmla="*/ 3183986 w 3183986"/>
              <a:gd name="connsiteY3" fmla="*/ 1385531 h 1385531"/>
              <a:gd name="connsiteX4" fmla="*/ 1310968 w 3183986"/>
              <a:gd name="connsiteY4" fmla="*/ 1365652 h 1385531"/>
              <a:gd name="connsiteX0" fmla="*/ 1310968 w 3183986"/>
              <a:gd name="connsiteY0" fmla="*/ 1415348 h 1435227"/>
              <a:gd name="connsiteX1" fmla="*/ 0 w 3183986"/>
              <a:gd name="connsiteY1" fmla="*/ 49697 h 1435227"/>
              <a:gd name="connsiteX2" fmla="*/ 201250 w 3183986"/>
              <a:gd name="connsiteY2" fmla="*/ 0 h 1435227"/>
              <a:gd name="connsiteX3" fmla="*/ 3183986 w 3183986"/>
              <a:gd name="connsiteY3" fmla="*/ 1435227 h 1435227"/>
              <a:gd name="connsiteX4" fmla="*/ 1310968 w 3183986"/>
              <a:gd name="connsiteY4" fmla="*/ 1415348 h 1435227"/>
              <a:gd name="connsiteX0" fmla="*/ 1271212 w 3144230"/>
              <a:gd name="connsiteY0" fmla="*/ 1415348 h 1435227"/>
              <a:gd name="connsiteX1" fmla="*/ 0 w 3144230"/>
              <a:gd name="connsiteY1" fmla="*/ 29819 h 1435227"/>
              <a:gd name="connsiteX2" fmla="*/ 161494 w 3144230"/>
              <a:gd name="connsiteY2" fmla="*/ 0 h 1435227"/>
              <a:gd name="connsiteX3" fmla="*/ 3144230 w 3144230"/>
              <a:gd name="connsiteY3" fmla="*/ 1435227 h 1435227"/>
              <a:gd name="connsiteX4" fmla="*/ 1271212 w 3144230"/>
              <a:gd name="connsiteY4" fmla="*/ 1415348 h 1435227"/>
              <a:gd name="connsiteX0" fmla="*/ 1251333 w 3124351"/>
              <a:gd name="connsiteY0" fmla="*/ 1415348 h 1435227"/>
              <a:gd name="connsiteX1" fmla="*/ 0 w 3124351"/>
              <a:gd name="connsiteY1" fmla="*/ 19879 h 1435227"/>
              <a:gd name="connsiteX2" fmla="*/ 141615 w 3124351"/>
              <a:gd name="connsiteY2" fmla="*/ 0 h 1435227"/>
              <a:gd name="connsiteX3" fmla="*/ 3124351 w 3124351"/>
              <a:gd name="connsiteY3" fmla="*/ 1435227 h 1435227"/>
              <a:gd name="connsiteX4" fmla="*/ 1251333 w 3124351"/>
              <a:gd name="connsiteY4" fmla="*/ 1415348 h 1435227"/>
              <a:gd name="connsiteX0" fmla="*/ 1251333 w 3124351"/>
              <a:gd name="connsiteY0" fmla="*/ 1455104 h 1474983"/>
              <a:gd name="connsiteX1" fmla="*/ 0 w 3124351"/>
              <a:gd name="connsiteY1" fmla="*/ 59635 h 1474983"/>
              <a:gd name="connsiteX2" fmla="*/ 32285 w 3124351"/>
              <a:gd name="connsiteY2" fmla="*/ 0 h 1474983"/>
              <a:gd name="connsiteX3" fmla="*/ 3124351 w 3124351"/>
              <a:gd name="connsiteY3" fmla="*/ 1474983 h 1474983"/>
              <a:gd name="connsiteX4" fmla="*/ 1251333 w 3124351"/>
              <a:gd name="connsiteY4" fmla="*/ 1455104 h 1474983"/>
              <a:gd name="connsiteX0" fmla="*/ 1219048 w 3092066"/>
              <a:gd name="connsiteY0" fmla="*/ 1455104 h 1474983"/>
              <a:gd name="connsiteX1" fmla="*/ 7471 w 3092066"/>
              <a:gd name="connsiteY1" fmla="*/ 119270 h 1474983"/>
              <a:gd name="connsiteX2" fmla="*/ 0 w 3092066"/>
              <a:gd name="connsiteY2" fmla="*/ 0 h 1474983"/>
              <a:gd name="connsiteX3" fmla="*/ 3092066 w 3092066"/>
              <a:gd name="connsiteY3" fmla="*/ 1474983 h 1474983"/>
              <a:gd name="connsiteX4" fmla="*/ 1219048 w 3092066"/>
              <a:gd name="connsiteY4" fmla="*/ 1455104 h 1474983"/>
              <a:gd name="connsiteX0" fmla="*/ 1358196 w 3092066"/>
              <a:gd name="connsiteY0" fmla="*/ 1703582 h 1703582"/>
              <a:gd name="connsiteX1" fmla="*/ 7471 w 3092066"/>
              <a:gd name="connsiteY1" fmla="*/ 119270 h 1703582"/>
              <a:gd name="connsiteX2" fmla="*/ 0 w 3092066"/>
              <a:gd name="connsiteY2" fmla="*/ 0 h 1703582"/>
              <a:gd name="connsiteX3" fmla="*/ 3092066 w 3092066"/>
              <a:gd name="connsiteY3" fmla="*/ 1474983 h 1703582"/>
              <a:gd name="connsiteX4" fmla="*/ 1358196 w 3092066"/>
              <a:gd name="connsiteY4" fmla="*/ 1703582 h 1703582"/>
              <a:gd name="connsiteX0" fmla="*/ 1358196 w 3231214"/>
              <a:gd name="connsiteY0" fmla="*/ 1703582 h 1733400"/>
              <a:gd name="connsiteX1" fmla="*/ 7471 w 3231214"/>
              <a:gd name="connsiteY1" fmla="*/ 119270 h 1733400"/>
              <a:gd name="connsiteX2" fmla="*/ 0 w 3231214"/>
              <a:gd name="connsiteY2" fmla="*/ 0 h 1733400"/>
              <a:gd name="connsiteX3" fmla="*/ 3231214 w 3231214"/>
              <a:gd name="connsiteY3" fmla="*/ 1733400 h 1733400"/>
              <a:gd name="connsiteX4" fmla="*/ 1358196 w 3231214"/>
              <a:gd name="connsiteY4" fmla="*/ 1703582 h 1733400"/>
              <a:gd name="connsiteX0" fmla="*/ 1407891 w 3231214"/>
              <a:gd name="connsiteY0" fmla="*/ 1743338 h 1743338"/>
              <a:gd name="connsiteX1" fmla="*/ 7471 w 3231214"/>
              <a:gd name="connsiteY1" fmla="*/ 119270 h 1743338"/>
              <a:gd name="connsiteX2" fmla="*/ 0 w 3231214"/>
              <a:gd name="connsiteY2" fmla="*/ 0 h 1743338"/>
              <a:gd name="connsiteX3" fmla="*/ 3231214 w 3231214"/>
              <a:gd name="connsiteY3" fmla="*/ 1733400 h 1743338"/>
              <a:gd name="connsiteX4" fmla="*/ 1407891 w 3231214"/>
              <a:gd name="connsiteY4" fmla="*/ 1743338 h 1743338"/>
              <a:gd name="connsiteX0" fmla="*/ 1338318 w 3231214"/>
              <a:gd name="connsiteY0" fmla="*/ 1713521 h 1733400"/>
              <a:gd name="connsiteX1" fmla="*/ 7471 w 3231214"/>
              <a:gd name="connsiteY1" fmla="*/ 119270 h 1733400"/>
              <a:gd name="connsiteX2" fmla="*/ 0 w 3231214"/>
              <a:gd name="connsiteY2" fmla="*/ 0 h 1733400"/>
              <a:gd name="connsiteX3" fmla="*/ 3231214 w 3231214"/>
              <a:gd name="connsiteY3" fmla="*/ 1733400 h 1733400"/>
              <a:gd name="connsiteX4" fmla="*/ 1338318 w 3231214"/>
              <a:gd name="connsiteY4" fmla="*/ 1713521 h 1733400"/>
              <a:gd name="connsiteX0" fmla="*/ 1338318 w 3201396"/>
              <a:gd name="connsiteY0" fmla="*/ 1713521 h 1713522"/>
              <a:gd name="connsiteX1" fmla="*/ 7471 w 3201396"/>
              <a:gd name="connsiteY1" fmla="*/ 119270 h 1713522"/>
              <a:gd name="connsiteX2" fmla="*/ 0 w 3201396"/>
              <a:gd name="connsiteY2" fmla="*/ 0 h 1713522"/>
              <a:gd name="connsiteX3" fmla="*/ 3201396 w 3201396"/>
              <a:gd name="connsiteY3" fmla="*/ 1713522 h 1713522"/>
              <a:gd name="connsiteX4" fmla="*/ 1338318 w 3201396"/>
              <a:gd name="connsiteY4" fmla="*/ 1713521 h 1713522"/>
              <a:gd name="connsiteX0" fmla="*/ 1338318 w 4145613"/>
              <a:gd name="connsiteY0" fmla="*/ 1713521 h 1713521"/>
              <a:gd name="connsiteX1" fmla="*/ 7471 w 4145613"/>
              <a:gd name="connsiteY1" fmla="*/ 119270 h 1713521"/>
              <a:gd name="connsiteX2" fmla="*/ 0 w 4145613"/>
              <a:gd name="connsiteY2" fmla="*/ 0 h 1713521"/>
              <a:gd name="connsiteX3" fmla="*/ 4145613 w 4145613"/>
              <a:gd name="connsiteY3" fmla="*/ 1703583 h 1713521"/>
              <a:gd name="connsiteX4" fmla="*/ 1338318 w 4145613"/>
              <a:gd name="connsiteY4" fmla="*/ 1713521 h 1713521"/>
              <a:gd name="connsiteX0" fmla="*/ 1934666 w 4145613"/>
              <a:gd name="connsiteY0" fmla="*/ 1713521 h 1713521"/>
              <a:gd name="connsiteX1" fmla="*/ 7471 w 4145613"/>
              <a:gd name="connsiteY1" fmla="*/ 119270 h 1713521"/>
              <a:gd name="connsiteX2" fmla="*/ 0 w 4145613"/>
              <a:gd name="connsiteY2" fmla="*/ 0 h 1713521"/>
              <a:gd name="connsiteX3" fmla="*/ 4145613 w 4145613"/>
              <a:gd name="connsiteY3" fmla="*/ 1703583 h 1713521"/>
              <a:gd name="connsiteX4" fmla="*/ 1934666 w 4145613"/>
              <a:gd name="connsiteY4" fmla="*/ 1713521 h 1713521"/>
              <a:gd name="connsiteX0" fmla="*/ 1944191 w 4155138"/>
              <a:gd name="connsiteY0" fmla="*/ 1773846 h 1773846"/>
              <a:gd name="connsiteX1" fmla="*/ 16996 w 4155138"/>
              <a:gd name="connsiteY1" fmla="*/ 179595 h 1773846"/>
              <a:gd name="connsiteX2" fmla="*/ 0 w 4155138"/>
              <a:gd name="connsiteY2" fmla="*/ 0 h 1773846"/>
              <a:gd name="connsiteX3" fmla="*/ 4155138 w 4155138"/>
              <a:gd name="connsiteY3" fmla="*/ 1763908 h 1773846"/>
              <a:gd name="connsiteX4" fmla="*/ 1944191 w 4155138"/>
              <a:gd name="connsiteY4" fmla="*/ 1773846 h 1773846"/>
              <a:gd name="connsiteX0" fmla="*/ 1944191 w 4155138"/>
              <a:gd name="connsiteY0" fmla="*/ 1773846 h 1773846"/>
              <a:gd name="connsiteX1" fmla="*/ 13821 w 4155138"/>
              <a:gd name="connsiteY1" fmla="*/ 97045 h 1773846"/>
              <a:gd name="connsiteX2" fmla="*/ 0 w 4155138"/>
              <a:gd name="connsiteY2" fmla="*/ 0 h 1773846"/>
              <a:gd name="connsiteX3" fmla="*/ 4155138 w 4155138"/>
              <a:gd name="connsiteY3" fmla="*/ 1763908 h 1773846"/>
              <a:gd name="connsiteX4" fmla="*/ 1944191 w 4155138"/>
              <a:gd name="connsiteY4" fmla="*/ 1773846 h 1773846"/>
              <a:gd name="connsiteX0" fmla="*/ 1950541 w 4161488"/>
              <a:gd name="connsiteY0" fmla="*/ 1799246 h 1799246"/>
              <a:gd name="connsiteX1" fmla="*/ 20171 w 4161488"/>
              <a:gd name="connsiteY1" fmla="*/ 122445 h 1799246"/>
              <a:gd name="connsiteX2" fmla="*/ 0 w 4161488"/>
              <a:gd name="connsiteY2" fmla="*/ 0 h 1799246"/>
              <a:gd name="connsiteX3" fmla="*/ 4161488 w 4161488"/>
              <a:gd name="connsiteY3" fmla="*/ 1789308 h 1799246"/>
              <a:gd name="connsiteX4" fmla="*/ 1950541 w 4161488"/>
              <a:gd name="connsiteY4" fmla="*/ 1799246 h 1799246"/>
              <a:gd name="connsiteX0" fmla="*/ 1950541 w 4161488"/>
              <a:gd name="connsiteY0" fmla="*/ 1799246 h 1799246"/>
              <a:gd name="connsiteX1" fmla="*/ 20171 w 4161488"/>
              <a:gd name="connsiteY1" fmla="*/ 90695 h 1799246"/>
              <a:gd name="connsiteX2" fmla="*/ 0 w 4161488"/>
              <a:gd name="connsiteY2" fmla="*/ 0 h 1799246"/>
              <a:gd name="connsiteX3" fmla="*/ 4161488 w 4161488"/>
              <a:gd name="connsiteY3" fmla="*/ 1789308 h 1799246"/>
              <a:gd name="connsiteX4" fmla="*/ 1950541 w 4161488"/>
              <a:gd name="connsiteY4" fmla="*/ 1799246 h 1799246"/>
              <a:gd name="connsiteX0" fmla="*/ 1597615 w 4161488"/>
              <a:gd name="connsiteY0" fmla="*/ 1807267 h 1807267"/>
              <a:gd name="connsiteX1" fmla="*/ 20171 w 4161488"/>
              <a:gd name="connsiteY1" fmla="*/ 90695 h 1807267"/>
              <a:gd name="connsiteX2" fmla="*/ 0 w 4161488"/>
              <a:gd name="connsiteY2" fmla="*/ 0 h 1807267"/>
              <a:gd name="connsiteX3" fmla="*/ 4161488 w 4161488"/>
              <a:gd name="connsiteY3" fmla="*/ 1789308 h 1807267"/>
              <a:gd name="connsiteX4" fmla="*/ 1597615 w 4161488"/>
              <a:gd name="connsiteY4" fmla="*/ 1807267 h 1807267"/>
              <a:gd name="connsiteX0" fmla="*/ 1324899 w 4161488"/>
              <a:gd name="connsiteY0" fmla="*/ 1807267 h 1807267"/>
              <a:gd name="connsiteX1" fmla="*/ 20171 w 4161488"/>
              <a:gd name="connsiteY1" fmla="*/ 90695 h 1807267"/>
              <a:gd name="connsiteX2" fmla="*/ 0 w 4161488"/>
              <a:gd name="connsiteY2" fmla="*/ 0 h 1807267"/>
              <a:gd name="connsiteX3" fmla="*/ 4161488 w 4161488"/>
              <a:gd name="connsiteY3" fmla="*/ 1789308 h 1807267"/>
              <a:gd name="connsiteX4" fmla="*/ 1324899 w 4161488"/>
              <a:gd name="connsiteY4" fmla="*/ 1807267 h 1807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61488" h="1807267">
                <a:moveTo>
                  <a:pt x="1324899" y="1807267"/>
                </a:moveTo>
                <a:lnTo>
                  <a:pt x="20171" y="90695"/>
                </a:lnTo>
                <a:lnTo>
                  <a:pt x="0" y="0"/>
                </a:lnTo>
                <a:lnTo>
                  <a:pt x="4161488" y="1789308"/>
                </a:lnTo>
                <a:lnTo>
                  <a:pt x="1324899" y="1807267"/>
                </a:lnTo>
                <a:close/>
              </a:path>
            </a:pathLst>
          </a:custGeom>
          <a:gradFill>
            <a:gsLst>
              <a:gs pos="0">
                <a:srgbClr val="F2F2F2"/>
              </a:gs>
              <a:gs pos="100000">
                <a:schemeClr val="bg1">
                  <a:lumMod val="50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TextBox 33">
            <a:extLst>
              <a:ext uri="{FF2B5EF4-FFF2-40B4-BE49-F238E27FC236}">
                <a16:creationId xmlns:a16="http://schemas.microsoft.com/office/drawing/2014/main" id="{E01A59CB-C86F-4F2E-BD01-93D6238B2328}"/>
              </a:ext>
            </a:extLst>
          </p:cNvPr>
          <p:cNvSpPr txBox="1"/>
          <p:nvPr/>
        </p:nvSpPr>
        <p:spPr>
          <a:xfrm>
            <a:off x="6832387" y="4054982"/>
            <a:ext cx="3089307" cy="37638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846">
                <a:solidFill>
                  <a:srgbClr val="FF6600"/>
                </a:solidFill>
                <a:latin typeface="Arial" charset="0"/>
                <a:ea typeface="Arial" charset="0"/>
                <a:cs typeface="Arial" charset="0"/>
              </a:rPr>
              <a:t>...is becoming </a:t>
            </a:r>
            <a:r>
              <a:rPr lang="en-US" sz="1846" b="1">
                <a:solidFill>
                  <a:srgbClr val="FF6600"/>
                </a:solidFill>
                <a:latin typeface="Arial" charset="0"/>
                <a:ea typeface="Arial" charset="0"/>
                <a:cs typeface="Arial" charset="0"/>
              </a:rPr>
              <a:t>intelligent ...</a:t>
            </a:r>
            <a:endParaRPr lang="en-US" sz="1846">
              <a:solidFill>
                <a:srgbClr val="FF66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Rectangle 40">
            <a:extLst>
              <a:ext uri="{FF2B5EF4-FFF2-40B4-BE49-F238E27FC236}">
                <a16:creationId xmlns:a16="http://schemas.microsoft.com/office/drawing/2014/main" id="{D36676B1-F3BE-4FC9-A0F4-27B6D0FA4804}"/>
              </a:ext>
            </a:extLst>
          </p:cNvPr>
          <p:cNvSpPr/>
          <p:nvPr/>
        </p:nvSpPr>
        <p:spPr bwMode="auto">
          <a:xfrm>
            <a:off x="4124831" y="4293099"/>
            <a:ext cx="187176" cy="155755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OffAxis2Left"/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" name="Rectangle 40">
            <a:extLst>
              <a:ext uri="{FF2B5EF4-FFF2-40B4-BE49-F238E27FC236}">
                <a16:creationId xmlns:a16="http://schemas.microsoft.com/office/drawing/2014/main" id="{0AE9BEF1-F26D-486B-A9BA-4D8FAF54EC0C}"/>
              </a:ext>
            </a:extLst>
          </p:cNvPr>
          <p:cNvSpPr/>
          <p:nvPr/>
        </p:nvSpPr>
        <p:spPr bwMode="auto">
          <a:xfrm>
            <a:off x="4527402" y="3682481"/>
            <a:ext cx="113700" cy="87163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OffAxis1Right"/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Rectangle 40">
            <a:extLst>
              <a:ext uri="{FF2B5EF4-FFF2-40B4-BE49-F238E27FC236}">
                <a16:creationId xmlns:a16="http://schemas.microsoft.com/office/drawing/2014/main" id="{039FB1B0-FF94-429D-B79F-EF566AD100FF}"/>
              </a:ext>
            </a:extLst>
          </p:cNvPr>
          <p:cNvSpPr/>
          <p:nvPr/>
        </p:nvSpPr>
        <p:spPr bwMode="auto">
          <a:xfrm>
            <a:off x="3947703" y="3400666"/>
            <a:ext cx="113700" cy="87163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OffAxis1Right"/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Rectangle 40">
            <a:extLst>
              <a:ext uri="{FF2B5EF4-FFF2-40B4-BE49-F238E27FC236}">
                <a16:creationId xmlns:a16="http://schemas.microsoft.com/office/drawing/2014/main" id="{EACBE1CB-1DD7-430A-B9DE-5B14EAA5D784}"/>
              </a:ext>
            </a:extLst>
          </p:cNvPr>
          <p:cNvSpPr/>
          <p:nvPr/>
        </p:nvSpPr>
        <p:spPr bwMode="auto">
          <a:xfrm>
            <a:off x="3252797" y="4112136"/>
            <a:ext cx="113700" cy="87163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OffAxis2Left"/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" name="Rectangle 40">
            <a:extLst>
              <a:ext uri="{FF2B5EF4-FFF2-40B4-BE49-F238E27FC236}">
                <a16:creationId xmlns:a16="http://schemas.microsoft.com/office/drawing/2014/main" id="{DE5B0D30-A5B6-49C9-9BC8-98EB017C6E4E}"/>
              </a:ext>
            </a:extLst>
          </p:cNvPr>
          <p:cNvSpPr/>
          <p:nvPr/>
        </p:nvSpPr>
        <p:spPr bwMode="auto">
          <a:xfrm rot="15660000">
            <a:off x="4295980" y="4142609"/>
            <a:ext cx="14157" cy="155732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" name="Rectangle 41">
            <a:extLst>
              <a:ext uri="{FF2B5EF4-FFF2-40B4-BE49-F238E27FC236}">
                <a16:creationId xmlns:a16="http://schemas.microsoft.com/office/drawing/2014/main" id="{7C7EED62-5A45-46D5-B3DB-9ECBBDB6DC19}"/>
              </a:ext>
            </a:extLst>
          </p:cNvPr>
          <p:cNvSpPr/>
          <p:nvPr/>
        </p:nvSpPr>
        <p:spPr bwMode="auto">
          <a:xfrm>
            <a:off x="4219161" y="4228208"/>
            <a:ext cx="14157" cy="84944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Rectangle 42">
            <a:extLst>
              <a:ext uri="{FF2B5EF4-FFF2-40B4-BE49-F238E27FC236}">
                <a16:creationId xmlns:a16="http://schemas.microsoft.com/office/drawing/2014/main" id="{294F997D-FD9A-45B0-A7D0-DE5A1C073363}"/>
              </a:ext>
            </a:extLst>
          </p:cNvPr>
          <p:cNvSpPr/>
          <p:nvPr/>
        </p:nvSpPr>
        <p:spPr bwMode="auto">
          <a:xfrm rot="10800000">
            <a:off x="4575937" y="3770599"/>
            <a:ext cx="14157" cy="28315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isometricOffAxis1Right"/>
            <a:lightRig rig="threePt" dir="t"/>
          </a:scene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" name="Rectangle 43">
            <a:extLst>
              <a:ext uri="{FF2B5EF4-FFF2-40B4-BE49-F238E27FC236}">
                <a16:creationId xmlns:a16="http://schemas.microsoft.com/office/drawing/2014/main" id="{68F65D19-926D-43D1-B55D-9259CD8D6D43}"/>
              </a:ext>
            </a:extLst>
          </p:cNvPr>
          <p:cNvSpPr/>
          <p:nvPr/>
        </p:nvSpPr>
        <p:spPr bwMode="auto">
          <a:xfrm>
            <a:off x="3986063" y="3481409"/>
            <a:ext cx="14157" cy="99102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isometricOffAxis1Right"/>
            <a:lightRig rig="threePt" dir="t"/>
          </a:scene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" name="Rectangle 44">
            <a:extLst>
              <a:ext uri="{FF2B5EF4-FFF2-40B4-BE49-F238E27FC236}">
                <a16:creationId xmlns:a16="http://schemas.microsoft.com/office/drawing/2014/main" id="{E2A23604-0D34-4721-AA8B-5FB5DCC12FE4}"/>
              </a:ext>
            </a:extLst>
          </p:cNvPr>
          <p:cNvSpPr/>
          <p:nvPr/>
        </p:nvSpPr>
        <p:spPr bwMode="auto">
          <a:xfrm>
            <a:off x="3313833" y="4023502"/>
            <a:ext cx="14157" cy="84944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isometricOffAxis1Right"/>
            <a:lightRig rig="threePt" dir="t"/>
          </a:scene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Rectangle 45">
            <a:extLst>
              <a:ext uri="{FF2B5EF4-FFF2-40B4-BE49-F238E27FC236}">
                <a16:creationId xmlns:a16="http://schemas.microsoft.com/office/drawing/2014/main" id="{40DCFC92-0581-48B1-BAE5-18D88ABC520B}"/>
              </a:ext>
            </a:extLst>
          </p:cNvPr>
          <p:cNvSpPr/>
          <p:nvPr/>
        </p:nvSpPr>
        <p:spPr bwMode="auto">
          <a:xfrm rot="17640000">
            <a:off x="3444146" y="3935664"/>
            <a:ext cx="14157" cy="297307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3" name="Rectangle 46">
            <a:extLst>
              <a:ext uri="{FF2B5EF4-FFF2-40B4-BE49-F238E27FC236}">
                <a16:creationId xmlns:a16="http://schemas.microsoft.com/office/drawing/2014/main" id="{1CC3D185-7F2E-4266-9476-BA3D9F517957}"/>
              </a:ext>
            </a:extLst>
          </p:cNvPr>
          <p:cNvSpPr/>
          <p:nvPr/>
        </p:nvSpPr>
        <p:spPr bwMode="auto">
          <a:xfrm rot="15660000">
            <a:off x="4319947" y="3509449"/>
            <a:ext cx="14157" cy="835292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Rectangle 47">
            <a:extLst>
              <a:ext uri="{FF2B5EF4-FFF2-40B4-BE49-F238E27FC236}">
                <a16:creationId xmlns:a16="http://schemas.microsoft.com/office/drawing/2014/main" id="{D010E0CC-5F6C-4267-900B-D9DCFE2F10E9}"/>
              </a:ext>
            </a:extLst>
          </p:cNvPr>
          <p:cNvSpPr/>
          <p:nvPr/>
        </p:nvSpPr>
        <p:spPr bwMode="auto">
          <a:xfrm rot="17640000">
            <a:off x="4408251" y="3663955"/>
            <a:ext cx="14157" cy="1104284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5" name="Rectangle 48">
            <a:extLst>
              <a:ext uri="{FF2B5EF4-FFF2-40B4-BE49-F238E27FC236}">
                <a16:creationId xmlns:a16="http://schemas.microsoft.com/office/drawing/2014/main" id="{B861E0E1-26E9-4224-8612-BE0163AA1914}"/>
              </a:ext>
            </a:extLst>
          </p:cNvPr>
          <p:cNvSpPr/>
          <p:nvPr/>
        </p:nvSpPr>
        <p:spPr bwMode="auto">
          <a:xfrm rot="17640000">
            <a:off x="4656415" y="3741584"/>
            <a:ext cx="14157" cy="169890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Rectangle 49">
            <a:extLst>
              <a:ext uri="{FF2B5EF4-FFF2-40B4-BE49-F238E27FC236}">
                <a16:creationId xmlns:a16="http://schemas.microsoft.com/office/drawing/2014/main" id="{6E884FC7-278B-4D95-8433-E08910BEE2B7}"/>
              </a:ext>
            </a:extLst>
          </p:cNvPr>
          <p:cNvSpPr/>
          <p:nvPr/>
        </p:nvSpPr>
        <p:spPr bwMode="auto">
          <a:xfrm rot="17640000">
            <a:off x="4312623" y="3363697"/>
            <a:ext cx="14157" cy="722033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Rectangle 50">
            <a:extLst>
              <a:ext uri="{FF2B5EF4-FFF2-40B4-BE49-F238E27FC236}">
                <a16:creationId xmlns:a16="http://schemas.microsoft.com/office/drawing/2014/main" id="{BD6BE15B-C548-4814-B926-5EB6ABA8C55F}"/>
              </a:ext>
            </a:extLst>
          </p:cNvPr>
          <p:cNvSpPr/>
          <p:nvPr/>
        </p:nvSpPr>
        <p:spPr bwMode="auto">
          <a:xfrm rot="15660000">
            <a:off x="3815298" y="3858705"/>
            <a:ext cx="14157" cy="495511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38" name="Gerade Verbindung 63">
            <a:extLst>
              <a:ext uri="{FF2B5EF4-FFF2-40B4-BE49-F238E27FC236}">
                <a16:creationId xmlns:a16="http://schemas.microsoft.com/office/drawing/2014/main" id="{AE1B162F-20F2-4E91-81C3-04F0CA6F7EB8}"/>
              </a:ext>
            </a:extLst>
          </p:cNvPr>
          <p:cNvCxnSpPr/>
          <p:nvPr/>
        </p:nvCxnSpPr>
        <p:spPr>
          <a:xfrm>
            <a:off x="2717273" y="2797624"/>
            <a:ext cx="0" cy="1677914"/>
          </a:xfrm>
          <a:prstGeom prst="line">
            <a:avLst/>
          </a:prstGeom>
          <a:ln w="12700" cap="sq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66">
            <a:extLst>
              <a:ext uri="{FF2B5EF4-FFF2-40B4-BE49-F238E27FC236}">
                <a16:creationId xmlns:a16="http://schemas.microsoft.com/office/drawing/2014/main" id="{587BEA4E-826E-4997-86FE-28DB28D02794}"/>
              </a:ext>
            </a:extLst>
          </p:cNvPr>
          <p:cNvCxnSpPr/>
          <p:nvPr/>
        </p:nvCxnSpPr>
        <p:spPr>
          <a:xfrm>
            <a:off x="2717275" y="4475538"/>
            <a:ext cx="2205341" cy="0"/>
          </a:xfrm>
          <a:prstGeom prst="line">
            <a:avLst/>
          </a:prstGeom>
          <a:ln w="12700" cap="sq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72">
            <a:extLst>
              <a:ext uri="{FF2B5EF4-FFF2-40B4-BE49-F238E27FC236}">
                <a16:creationId xmlns:a16="http://schemas.microsoft.com/office/drawing/2014/main" id="{070613EA-E27E-4B7F-B665-757988CA30C5}"/>
              </a:ext>
            </a:extLst>
          </p:cNvPr>
          <p:cNvCxnSpPr/>
          <p:nvPr/>
        </p:nvCxnSpPr>
        <p:spPr>
          <a:xfrm>
            <a:off x="4927147" y="3030189"/>
            <a:ext cx="0" cy="1369026"/>
          </a:xfrm>
          <a:prstGeom prst="line">
            <a:avLst/>
          </a:prstGeom>
          <a:ln w="12700" cap="sq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75">
            <a:extLst>
              <a:ext uri="{FF2B5EF4-FFF2-40B4-BE49-F238E27FC236}">
                <a16:creationId xmlns:a16="http://schemas.microsoft.com/office/drawing/2014/main" id="{E56725DA-8C8A-4DCA-AA8D-42C010A643B1}"/>
              </a:ext>
            </a:extLst>
          </p:cNvPr>
          <p:cNvCxnSpPr/>
          <p:nvPr/>
        </p:nvCxnSpPr>
        <p:spPr>
          <a:xfrm flipH="1">
            <a:off x="4124833" y="3021178"/>
            <a:ext cx="797783" cy="0"/>
          </a:xfrm>
          <a:prstGeom prst="line">
            <a:avLst/>
          </a:prstGeom>
          <a:ln w="12700" cap="sq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79">
            <a:extLst>
              <a:ext uri="{FF2B5EF4-FFF2-40B4-BE49-F238E27FC236}">
                <a16:creationId xmlns:a16="http://schemas.microsoft.com/office/drawing/2014/main" id="{B59A9660-241E-4B46-95CF-12E188B69CC9}"/>
              </a:ext>
            </a:extLst>
          </p:cNvPr>
          <p:cNvCxnSpPr/>
          <p:nvPr/>
        </p:nvCxnSpPr>
        <p:spPr>
          <a:xfrm flipV="1">
            <a:off x="4122292" y="2797624"/>
            <a:ext cx="0" cy="223554"/>
          </a:xfrm>
          <a:prstGeom prst="line">
            <a:avLst/>
          </a:prstGeom>
          <a:ln w="12700" cap="sq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ichtungspfeil 20">
            <a:extLst>
              <a:ext uri="{FF2B5EF4-FFF2-40B4-BE49-F238E27FC236}">
                <a16:creationId xmlns:a16="http://schemas.microsoft.com/office/drawing/2014/main" id="{2C20AA1D-86CA-41A6-811A-5BAD4F4F3CDA}"/>
              </a:ext>
            </a:extLst>
          </p:cNvPr>
          <p:cNvSpPr/>
          <p:nvPr/>
        </p:nvSpPr>
        <p:spPr>
          <a:xfrm>
            <a:off x="3668383" y="2554223"/>
            <a:ext cx="984003" cy="267256"/>
          </a:xfrm>
          <a:prstGeom prst="homePlate">
            <a:avLst>
              <a:gd name="adj" fmla="val 0"/>
            </a:avLst>
          </a:prstGeom>
          <a:solidFill>
            <a:srgbClr val="FF6600"/>
          </a:solidFill>
          <a:ln w="28575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77" err="1">
              <a:solidFill>
                <a:srgbClr val="EBEBEB">
                  <a:lumMod val="10000"/>
                </a:srgbClr>
              </a:solidFill>
              <a:latin typeface="Arial"/>
            </a:endParaRPr>
          </a:p>
        </p:txBody>
      </p:sp>
      <p:sp>
        <p:nvSpPr>
          <p:cNvPr id="44" name="TextBox 21">
            <a:extLst>
              <a:ext uri="{FF2B5EF4-FFF2-40B4-BE49-F238E27FC236}">
                <a16:creationId xmlns:a16="http://schemas.microsoft.com/office/drawing/2014/main" id="{4F7C83C2-C424-4782-8B5A-3C43CD3EC84A}"/>
              </a:ext>
            </a:extLst>
          </p:cNvPr>
          <p:cNvSpPr txBox="1"/>
          <p:nvPr/>
        </p:nvSpPr>
        <p:spPr>
          <a:xfrm>
            <a:off x="3807143" y="2550356"/>
            <a:ext cx="704040" cy="2343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23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Electronic</a:t>
            </a:r>
          </a:p>
        </p:txBody>
      </p:sp>
      <p:sp>
        <p:nvSpPr>
          <p:cNvPr id="45" name="Rectangle 40">
            <a:extLst>
              <a:ext uri="{FF2B5EF4-FFF2-40B4-BE49-F238E27FC236}">
                <a16:creationId xmlns:a16="http://schemas.microsoft.com/office/drawing/2014/main" id="{52F80C2C-9458-49AB-A97C-17A58D9291CA}"/>
              </a:ext>
            </a:extLst>
          </p:cNvPr>
          <p:cNvSpPr/>
          <p:nvPr/>
        </p:nvSpPr>
        <p:spPr bwMode="auto">
          <a:xfrm>
            <a:off x="4774865" y="4249516"/>
            <a:ext cx="113700" cy="87163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OffAxis1Right"/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6" name="Rectangle 54">
            <a:extLst>
              <a:ext uri="{FF2B5EF4-FFF2-40B4-BE49-F238E27FC236}">
                <a16:creationId xmlns:a16="http://schemas.microsoft.com/office/drawing/2014/main" id="{FB157243-ECDB-466E-AABF-B8626FEF233D}"/>
              </a:ext>
            </a:extLst>
          </p:cNvPr>
          <p:cNvSpPr/>
          <p:nvPr/>
        </p:nvSpPr>
        <p:spPr bwMode="auto">
          <a:xfrm rot="15660000" flipH="1">
            <a:off x="4618476" y="3984936"/>
            <a:ext cx="13292" cy="404772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7" name="Rectangle 55">
            <a:extLst>
              <a:ext uri="{FF2B5EF4-FFF2-40B4-BE49-F238E27FC236}">
                <a16:creationId xmlns:a16="http://schemas.microsoft.com/office/drawing/2014/main" id="{19AA7F40-1F3E-4420-B108-D4441646A4E2}"/>
              </a:ext>
            </a:extLst>
          </p:cNvPr>
          <p:cNvSpPr/>
          <p:nvPr/>
        </p:nvSpPr>
        <p:spPr bwMode="auto">
          <a:xfrm>
            <a:off x="4811901" y="4156835"/>
            <a:ext cx="14157" cy="84944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" name="Trapez 34">
            <a:extLst>
              <a:ext uri="{FF2B5EF4-FFF2-40B4-BE49-F238E27FC236}">
                <a16:creationId xmlns:a16="http://schemas.microsoft.com/office/drawing/2014/main" id="{E96BC203-B15B-4E1F-B221-1477D5C063D8}"/>
              </a:ext>
            </a:extLst>
          </p:cNvPr>
          <p:cNvSpPr/>
          <p:nvPr/>
        </p:nvSpPr>
        <p:spPr>
          <a:xfrm>
            <a:off x="5040979" y="4544885"/>
            <a:ext cx="2886104" cy="1290736"/>
          </a:xfrm>
          <a:custGeom>
            <a:avLst/>
            <a:gdLst>
              <a:gd name="connsiteX0" fmla="*/ 0 w 720080"/>
              <a:gd name="connsiteY0" fmla="*/ 719608 h 719608"/>
              <a:gd name="connsiteX1" fmla="*/ 179902 w 720080"/>
              <a:gd name="connsiteY1" fmla="*/ 0 h 719608"/>
              <a:gd name="connsiteX2" fmla="*/ 540178 w 720080"/>
              <a:gd name="connsiteY2" fmla="*/ 0 h 719608"/>
              <a:gd name="connsiteX3" fmla="*/ 720080 w 720080"/>
              <a:gd name="connsiteY3" fmla="*/ 719608 h 719608"/>
              <a:gd name="connsiteX4" fmla="*/ 0 w 720080"/>
              <a:gd name="connsiteY4" fmla="*/ 719608 h 719608"/>
              <a:gd name="connsiteX0" fmla="*/ 734498 w 1454578"/>
              <a:gd name="connsiteY0" fmla="*/ 1435225 h 1435225"/>
              <a:gd name="connsiteX1" fmla="*/ 0 w 1454578"/>
              <a:gd name="connsiteY1" fmla="*/ 0 h 1435225"/>
              <a:gd name="connsiteX2" fmla="*/ 1274676 w 1454578"/>
              <a:gd name="connsiteY2" fmla="*/ 715617 h 1435225"/>
              <a:gd name="connsiteX3" fmla="*/ 1454578 w 1454578"/>
              <a:gd name="connsiteY3" fmla="*/ 1435225 h 1435225"/>
              <a:gd name="connsiteX4" fmla="*/ 734498 w 1454578"/>
              <a:gd name="connsiteY4" fmla="*/ 1435225 h 1435225"/>
              <a:gd name="connsiteX0" fmla="*/ 734498 w 1454578"/>
              <a:gd name="connsiteY0" fmla="*/ 1435226 h 1435226"/>
              <a:gd name="connsiteX1" fmla="*/ 0 w 1454578"/>
              <a:gd name="connsiteY1" fmla="*/ 1 h 1435226"/>
              <a:gd name="connsiteX2" fmla="*/ 211189 w 1454578"/>
              <a:gd name="connsiteY2" fmla="*/ 0 h 1435226"/>
              <a:gd name="connsiteX3" fmla="*/ 1454578 w 1454578"/>
              <a:gd name="connsiteY3" fmla="*/ 1435226 h 1435226"/>
              <a:gd name="connsiteX4" fmla="*/ 734498 w 1454578"/>
              <a:gd name="connsiteY4" fmla="*/ 1435226 h 1435226"/>
              <a:gd name="connsiteX0" fmla="*/ 734498 w 2905691"/>
              <a:gd name="connsiteY0" fmla="*/ 1435226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734498 w 2905691"/>
              <a:gd name="connsiteY4" fmla="*/ 1435226 h 1435226"/>
              <a:gd name="connsiteX0" fmla="*/ 1310968 w 2905691"/>
              <a:gd name="connsiteY0" fmla="*/ 1365652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1310968 w 2905691"/>
              <a:gd name="connsiteY4" fmla="*/ 1365652 h 1435226"/>
              <a:gd name="connsiteX0" fmla="*/ 1310968 w 3015021"/>
              <a:gd name="connsiteY0" fmla="*/ 1365652 h 1385531"/>
              <a:gd name="connsiteX1" fmla="*/ 0 w 3015021"/>
              <a:gd name="connsiteY1" fmla="*/ 1 h 1385531"/>
              <a:gd name="connsiteX2" fmla="*/ 211189 w 3015021"/>
              <a:gd name="connsiteY2" fmla="*/ 0 h 1385531"/>
              <a:gd name="connsiteX3" fmla="*/ 3015021 w 3015021"/>
              <a:gd name="connsiteY3" fmla="*/ 1385531 h 1385531"/>
              <a:gd name="connsiteX4" fmla="*/ 1310968 w 3015021"/>
              <a:gd name="connsiteY4" fmla="*/ 1365652 h 1385531"/>
              <a:gd name="connsiteX0" fmla="*/ 1310968 w 3183986"/>
              <a:gd name="connsiteY0" fmla="*/ 1365652 h 1385531"/>
              <a:gd name="connsiteX1" fmla="*/ 0 w 3183986"/>
              <a:gd name="connsiteY1" fmla="*/ 1 h 1385531"/>
              <a:gd name="connsiteX2" fmla="*/ 211189 w 3183986"/>
              <a:gd name="connsiteY2" fmla="*/ 0 h 1385531"/>
              <a:gd name="connsiteX3" fmla="*/ 3183986 w 3183986"/>
              <a:gd name="connsiteY3" fmla="*/ 1385531 h 1385531"/>
              <a:gd name="connsiteX4" fmla="*/ 1310968 w 3183986"/>
              <a:gd name="connsiteY4" fmla="*/ 1365652 h 1385531"/>
              <a:gd name="connsiteX0" fmla="*/ 1310968 w 3183986"/>
              <a:gd name="connsiteY0" fmla="*/ 1415348 h 1435227"/>
              <a:gd name="connsiteX1" fmla="*/ 0 w 3183986"/>
              <a:gd name="connsiteY1" fmla="*/ 49697 h 1435227"/>
              <a:gd name="connsiteX2" fmla="*/ 201250 w 3183986"/>
              <a:gd name="connsiteY2" fmla="*/ 0 h 1435227"/>
              <a:gd name="connsiteX3" fmla="*/ 3183986 w 3183986"/>
              <a:gd name="connsiteY3" fmla="*/ 1435227 h 1435227"/>
              <a:gd name="connsiteX4" fmla="*/ 1310968 w 3183986"/>
              <a:gd name="connsiteY4" fmla="*/ 1415348 h 1435227"/>
              <a:gd name="connsiteX0" fmla="*/ 1271212 w 3144230"/>
              <a:gd name="connsiteY0" fmla="*/ 1415348 h 1435227"/>
              <a:gd name="connsiteX1" fmla="*/ 0 w 3144230"/>
              <a:gd name="connsiteY1" fmla="*/ 29819 h 1435227"/>
              <a:gd name="connsiteX2" fmla="*/ 161494 w 3144230"/>
              <a:gd name="connsiteY2" fmla="*/ 0 h 1435227"/>
              <a:gd name="connsiteX3" fmla="*/ 3144230 w 3144230"/>
              <a:gd name="connsiteY3" fmla="*/ 1435227 h 1435227"/>
              <a:gd name="connsiteX4" fmla="*/ 1271212 w 3144230"/>
              <a:gd name="connsiteY4" fmla="*/ 1415348 h 1435227"/>
              <a:gd name="connsiteX0" fmla="*/ 1271212 w 3144230"/>
              <a:gd name="connsiteY0" fmla="*/ 1418523 h 1438402"/>
              <a:gd name="connsiteX1" fmla="*/ 0 w 3144230"/>
              <a:gd name="connsiteY1" fmla="*/ 32994 h 1438402"/>
              <a:gd name="connsiteX2" fmla="*/ 113869 w 3144230"/>
              <a:gd name="connsiteY2" fmla="*/ 0 h 1438402"/>
              <a:gd name="connsiteX3" fmla="*/ 3144230 w 3144230"/>
              <a:gd name="connsiteY3" fmla="*/ 1438402 h 1438402"/>
              <a:gd name="connsiteX4" fmla="*/ 1271212 w 3144230"/>
              <a:gd name="connsiteY4" fmla="*/ 1418523 h 1438402"/>
              <a:gd name="connsiteX0" fmla="*/ 1271212 w 3609451"/>
              <a:gd name="connsiteY0" fmla="*/ 1418523 h 1418523"/>
              <a:gd name="connsiteX1" fmla="*/ 0 w 3609451"/>
              <a:gd name="connsiteY1" fmla="*/ 32994 h 1418523"/>
              <a:gd name="connsiteX2" fmla="*/ 113869 w 3609451"/>
              <a:gd name="connsiteY2" fmla="*/ 0 h 1418523"/>
              <a:gd name="connsiteX3" fmla="*/ 3609451 w 3609451"/>
              <a:gd name="connsiteY3" fmla="*/ 1414339 h 1418523"/>
              <a:gd name="connsiteX4" fmla="*/ 1271212 w 3609451"/>
              <a:gd name="connsiteY4" fmla="*/ 1418523 h 1418523"/>
              <a:gd name="connsiteX0" fmla="*/ 1271212 w 3400903"/>
              <a:gd name="connsiteY0" fmla="*/ 1418523 h 1422360"/>
              <a:gd name="connsiteX1" fmla="*/ 0 w 3400903"/>
              <a:gd name="connsiteY1" fmla="*/ 32994 h 1422360"/>
              <a:gd name="connsiteX2" fmla="*/ 113869 w 3400903"/>
              <a:gd name="connsiteY2" fmla="*/ 0 h 1422360"/>
              <a:gd name="connsiteX3" fmla="*/ 3400903 w 3400903"/>
              <a:gd name="connsiteY3" fmla="*/ 1422360 h 1422360"/>
              <a:gd name="connsiteX4" fmla="*/ 1271212 w 3400903"/>
              <a:gd name="connsiteY4" fmla="*/ 1418523 h 1422360"/>
              <a:gd name="connsiteX0" fmla="*/ 1664244 w 3400903"/>
              <a:gd name="connsiteY0" fmla="*/ 1418523 h 1422360"/>
              <a:gd name="connsiteX1" fmla="*/ 0 w 3400903"/>
              <a:gd name="connsiteY1" fmla="*/ 32994 h 1422360"/>
              <a:gd name="connsiteX2" fmla="*/ 113869 w 3400903"/>
              <a:gd name="connsiteY2" fmla="*/ 0 h 1422360"/>
              <a:gd name="connsiteX3" fmla="*/ 3400903 w 3400903"/>
              <a:gd name="connsiteY3" fmla="*/ 1422360 h 1422360"/>
              <a:gd name="connsiteX4" fmla="*/ 1664244 w 3400903"/>
              <a:gd name="connsiteY4" fmla="*/ 1418523 h 1422360"/>
              <a:gd name="connsiteX0" fmla="*/ 1664244 w 2911619"/>
              <a:gd name="connsiteY0" fmla="*/ 1418523 h 1422360"/>
              <a:gd name="connsiteX1" fmla="*/ 0 w 2911619"/>
              <a:gd name="connsiteY1" fmla="*/ 32994 h 1422360"/>
              <a:gd name="connsiteX2" fmla="*/ 113869 w 2911619"/>
              <a:gd name="connsiteY2" fmla="*/ 0 h 1422360"/>
              <a:gd name="connsiteX3" fmla="*/ 2911619 w 2911619"/>
              <a:gd name="connsiteY3" fmla="*/ 1422360 h 1422360"/>
              <a:gd name="connsiteX4" fmla="*/ 1664244 w 2911619"/>
              <a:gd name="connsiteY4" fmla="*/ 1418523 h 1422360"/>
              <a:gd name="connsiteX0" fmla="*/ 1592054 w 2839429"/>
              <a:gd name="connsiteY0" fmla="*/ 1418523 h 1422360"/>
              <a:gd name="connsiteX1" fmla="*/ 0 w 2839429"/>
              <a:gd name="connsiteY1" fmla="*/ 32994 h 1422360"/>
              <a:gd name="connsiteX2" fmla="*/ 41679 w 2839429"/>
              <a:gd name="connsiteY2" fmla="*/ 0 h 1422360"/>
              <a:gd name="connsiteX3" fmla="*/ 2839429 w 2839429"/>
              <a:gd name="connsiteY3" fmla="*/ 1422360 h 1422360"/>
              <a:gd name="connsiteX4" fmla="*/ 1592054 w 2839429"/>
              <a:gd name="connsiteY4" fmla="*/ 1418523 h 1422360"/>
              <a:gd name="connsiteX0" fmla="*/ 1598501 w 2845876"/>
              <a:gd name="connsiteY0" fmla="*/ 1394460 h 1398297"/>
              <a:gd name="connsiteX1" fmla="*/ 6447 w 2845876"/>
              <a:gd name="connsiteY1" fmla="*/ 8931 h 1398297"/>
              <a:gd name="connsiteX2" fmla="*/ 0 w 2845876"/>
              <a:gd name="connsiteY2" fmla="*/ 0 h 1398297"/>
              <a:gd name="connsiteX3" fmla="*/ 2845876 w 2845876"/>
              <a:gd name="connsiteY3" fmla="*/ 1398297 h 1398297"/>
              <a:gd name="connsiteX4" fmla="*/ 1598501 w 2845876"/>
              <a:gd name="connsiteY4" fmla="*/ 1394460 h 1398297"/>
              <a:gd name="connsiteX0" fmla="*/ 1598501 w 3126613"/>
              <a:gd name="connsiteY0" fmla="*/ 1394460 h 1398297"/>
              <a:gd name="connsiteX1" fmla="*/ 6447 w 3126613"/>
              <a:gd name="connsiteY1" fmla="*/ 8931 h 1398297"/>
              <a:gd name="connsiteX2" fmla="*/ 0 w 3126613"/>
              <a:gd name="connsiteY2" fmla="*/ 0 h 1398297"/>
              <a:gd name="connsiteX3" fmla="*/ 3126613 w 3126613"/>
              <a:gd name="connsiteY3" fmla="*/ 1398297 h 1398297"/>
              <a:gd name="connsiteX4" fmla="*/ 1598501 w 3126613"/>
              <a:gd name="connsiteY4" fmla="*/ 1394460 h 139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6613" h="1398297">
                <a:moveTo>
                  <a:pt x="1598501" y="1394460"/>
                </a:moveTo>
                <a:lnTo>
                  <a:pt x="6447" y="8931"/>
                </a:lnTo>
                <a:lnTo>
                  <a:pt x="0" y="0"/>
                </a:lnTo>
                <a:lnTo>
                  <a:pt x="3126613" y="1398297"/>
                </a:lnTo>
                <a:lnTo>
                  <a:pt x="1598501" y="139446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Trapez 34">
            <a:extLst>
              <a:ext uri="{FF2B5EF4-FFF2-40B4-BE49-F238E27FC236}">
                <a16:creationId xmlns:a16="http://schemas.microsoft.com/office/drawing/2014/main" id="{B39CB472-9853-4BBF-8169-81DBAD4B888C}"/>
              </a:ext>
            </a:extLst>
          </p:cNvPr>
          <p:cNvSpPr/>
          <p:nvPr/>
        </p:nvSpPr>
        <p:spPr>
          <a:xfrm>
            <a:off x="6010231" y="4218365"/>
            <a:ext cx="2404988" cy="1614649"/>
          </a:xfrm>
          <a:custGeom>
            <a:avLst/>
            <a:gdLst>
              <a:gd name="connsiteX0" fmla="*/ 0 w 720080"/>
              <a:gd name="connsiteY0" fmla="*/ 719608 h 719608"/>
              <a:gd name="connsiteX1" fmla="*/ 179902 w 720080"/>
              <a:gd name="connsiteY1" fmla="*/ 0 h 719608"/>
              <a:gd name="connsiteX2" fmla="*/ 540178 w 720080"/>
              <a:gd name="connsiteY2" fmla="*/ 0 h 719608"/>
              <a:gd name="connsiteX3" fmla="*/ 720080 w 720080"/>
              <a:gd name="connsiteY3" fmla="*/ 719608 h 719608"/>
              <a:gd name="connsiteX4" fmla="*/ 0 w 720080"/>
              <a:gd name="connsiteY4" fmla="*/ 719608 h 719608"/>
              <a:gd name="connsiteX0" fmla="*/ 734498 w 1454578"/>
              <a:gd name="connsiteY0" fmla="*/ 1435225 h 1435225"/>
              <a:gd name="connsiteX1" fmla="*/ 0 w 1454578"/>
              <a:gd name="connsiteY1" fmla="*/ 0 h 1435225"/>
              <a:gd name="connsiteX2" fmla="*/ 1274676 w 1454578"/>
              <a:gd name="connsiteY2" fmla="*/ 715617 h 1435225"/>
              <a:gd name="connsiteX3" fmla="*/ 1454578 w 1454578"/>
              <a:gd name="connsiteY3" fmla="*/ 1435225 h 1435225"/>
              <a:gd name="connsiteX4" fmla="*/ 734498 w 1454578"/>
              <a:gd name="connsiteY4" fmla="*/ 1435225 h 1435225"/>
              <a:gd name="connsiteX0" fmla="*/ 734498 w 1454578"/>
              <a:gd name="connsiteY0" fmla="*/ 1435226 h 1435226"/>
              <a:gd name="connsiteX1" fmla="*/ 0 w 1454578"/>
              <a:gd name="connsiteY1" fmla="*/ 1 h 1435226"/>
              <a:gd name="connsiteX2" fmla="*/ 211189 w 1454578"/>
              <a:gd name="connsiteY2" fmla="*/ 0 h 1435226"/>
              <a:gd name="connsiteX3" fmla="*/ 1454578 w 1454578"/>
              <a:gd name="connsiteY3" fmla="*/ 1435226 h 1435226"/>
              <a:gd name="connsiteX4" fmla="*/ 734498 w 1454578"/>
              <a:gd name="connsiteY4" fmla="*/ 1435226 h 1435226"/>
              <a:gd name="connsiteX0" fmla="*/ 734498 w 2905691"/>
              <a:gd name="connsiteY0" fmla="*/ 1435226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734498 w 2905691"/>
              <a:gd name="connsiteY4" fmla="*/ 1435226 h 1435226"/>
              <a:gd name="connsiteX0" fmla="*/ 1310968 w 2905691"/>
              <a:gd name="connsiteY0" fmla="*/ 1365652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1310968 w 2905691"/>
              <a:gd name="connsiteY4" fmla="*/ 1365652 h 1435226"/>
              <a:gd name="connsiteX0" fmla="*/ 1310968 w 3015021"/>
              <a:gd name="connsiteY0" fmla="*/ 1365652 h 1385531"/>
              <a:gd name="connsiteX1" fmla="*/ 0 w 3015021"/>
              <a:gd name="connsiteY1" fmla="*/ 1 h 1385531"/>
              <a:gd name="connsiteX2" fmla="*/ 211189 w 3015021"/>
              <a:gd name="connsiteY2" fmla="*/ 0 h 1385531"/>
              <a:gd name="connsiteX3" fmla="*/ 3015021 w 3015021"/>
              <a:gd name="connsiteY3" fmla="*/ 1385531 h 1385531"/>
              <a:gd name="connsiteX4" fmla="*/ 1310968 w 3015021"/>
              <a:gd name="connsiteY4" fmla="*/ 1365652 h 1385531"/>
              <a:gd name="connsiteX0" fmla="*/ 1310968 w 3183986"/>
              <a:gd name="connsiteY0" fmla="*/ 1365652 h 1385531"/>
              <a:gd name="connsiteX1" fmla="*/ 0 w 3183986"/>
              <a:gd name="connsiteY1" fmla="*/ 1 h 1385531"/>
              <a:gd name="connsiteX2" fmla="*/ 211189 w 3183986"/>
              <a:gd name="connsiteY2" fmla="*/ 0 h 1385531"/>
              <a:gd name="connsiteX3" fmla="*/ 3183986 w 3183986"/>
              <a:gd name="connsiteY3" fmla="*/ 1385531 h 1385531"/>
              <a:gd name="connsiteX4" fmla="*/ 1310968 w 3183986"/>
              <a:gd name="connsiteY4" fmla="*/ 1365652 h 1385531"/>
              <a:gd name="connsiteX0" fmla="*/ 1310968 w 3183986"/>
              <a:gd name="connsiteY0" fmla="*/ 1415348 h 1435227"/>
              <a:gd name="connsiteX1" fmla="*/ 0 w 3183986"/>
              <a:gd name="connsiteY1" fmla="*/ 49697 h 1435227"/>
              <a:gd name="connsiteX2" fmla="*/ 201250 w 3183986"/>
              <a:gd name="connsiteY2" fmla="*/ 0 h 1435227"/>
              <a:gd name="connsiteX3" fmla="*/ 3183986 w 3183986"/>
              <a:gd name="connsiteY3" fmla="*/ 1435227 h 1435227"/>
              <a:gd name="connsiteX4" fmla="*/ 1310968 w 3183986"/>
              <a:gd name="connsiteY4" fmla="*/ 1415348 h 1435227"/>
              <a:gd name="connsiteX0" fmla="*/ 1271212 w 3144230"/>
              <a:gd name="connsiteY0" fmla="*/ 1415348 h 1435227"/>
              <a:gd name="connsiteX1" fmla="*/ 0 w 3144230"/>
              <a:gd name="connsiteY1" fmla="*/ 29819 h 1435227"/>
              <a:gd name="connsiteX2" fmla="*/ 161494 w 3144230"/>
              <a:gd name="connsiteY2" fmla="*/ 0 h 1435227"/>
              <a:gd name="connsiteX3" fmla="*/ 3144230 w 3144230"/>
              <a:gd name="connsiteY3" fmla="*/ 1435227 h 1435227"/>
              <a:gd name="connsiteX4" fmla="*/ 1271212 w 3144230"/>
              <a:gd name="connsiteY4" fmla="*/ 1415348 h 1435227"/>
              <a:gd name="connsiteX0" fmla="*/ 1251333 w 3124351"/>
              <a:gd name="connsiteY0" fmla="*/ 1415348 h 1435227"/>
              <a:gd name="connsiteX1" fmla="*/ 0 w 3124351"/>
              <a:gd name="connsiteY1" fmla="*/ 19879 h 1435227"/>
              <a:gd name="connsiteX2" fmla="*/ 141615 w 3124351"/>
              <a:gd name="connsiteY2" fmla="*/ 0 h 1435227"/>
              <a:gd name="connsiteX3" fmla="*/ 3124351 w 3124351"/>
              <a:gd name="connsiteY3" fmla="*/ 1435227 h 1435227"/>
              <a:gd name="connsiteX4" fmla="*/ 1251333 w 3124351"/>
              <a:gd name="connsiteY4" fmla="*/ 1415348 h 1435227"/>
              <a:gd name="connsiteX0" fmla="*/ 1251333 w 3124351"/>
              <a:gd name="connsiteY0" fmla="*/ 1455104 h 1474983"/>
              <a:gd name="connsiteX1" fmla="*/ 0 w 3124351"/>
              <a:gd name="connsiteY1" fmla="*/ 59635 h 1474983"/>
              <a:gd name="connsiteX2" fmla="*/ 32285 w 3124351"/>
              <a:gd name="connsiteY2" fmla="*/ 0 h 1474983"/>
              <a:gd name="connsiteX3" fmla="*/ 3124351 w 3124351"/>
              <a:gd name="connsiteY3" fmla="*/ 1474983 h 1474983"/>
              <a:gd name="connsiteX4" fmla="*/ 1251333 w 3124351"/>
              <a:gd name="connsiteY4" fmla="*/ 1455104 h 1474983"/>
              <a:gd name="connsiteX0" fmla="*/ 1219048 w 3092066"/>
              <a:gd name="connsiteY0" fmla="*/ 1455104 h 1474983"/>
              <a:gd name="connsiteX1" fmla="*/ 7471 w 3092066"/>
              <a:gd name="connsiteY1" fmla="*/ 119270 h 1474983"/>
              <a:gd name="connsiteX2" fmla="*/ 0 w 3092066"/>
              <a:gd name="connsiteY2" fmla="*/ 0 h 1474983"/>
              <a:gd name="connsiteX3" fmla="*/ 3092066 w 3092066"/>
              <a:gd name="connsiteY3" fmla="*/ 1474983 h 1474983"/>
              <a:gd name="connsiteX4" fmla="*/ 1219048 w 3092066"/>
              <a:gd name="connsiteY4" fmla="*/ 1455104 h 1474983"/>
              <a:gd name="connsiteX0" fmla="*/ 1358196 w 3092066"/>
              <a:gd name="connsiteY0" fmla="*/ 1703582 h 1703582"/>
              <a:gd name="connsiteX1" fmla="*/ 7471 w 3092066"/>
              <a:gd name="connsiteY1" fmla="*/ 119270 h 1703582"/>
              <a:gd name="connsiteX2" fmla="*/ 0 w 3092066"/>
              <a:gd name="connsiteY2" fmla="*/ 0 h 1703582"/>
              <a:gd name="connsiteX3" fmla="*/ 3092066 w 3092066"/>
              <a:gd name="connsiteY3" fmla="*/ 1474983 h 1703582"/>
              <a:gd name="connsiteX4" fmla="*/ 1358196 w 3092066"/>
              <a:gd name="connsiteY4" fmla="*/ 1703582 h 1703582"/>
              <a:gd name="connsiteX0" fmla="*/ 1358196 w 3231214"/>
              <a:gd name="connsiteY0" fmla="*/ 1703582 h 1733400"/>
              <a:gd name="connsiteX1" fmla="*/ 7471 w 3231214"/>
              <a:gd name="connsiteY1" fmla="*/ 119270 h 1733400"/>
              <a:gd name="connsiteX2" fmla="*/ 0 w 3231214"/>
              <a:gd name="connsiteY2" fmla="*/ 0 h 1733400"/>
              <a:gd name="connsiteX3" fmla="*/ 3231214 w 3231214"/>
              <a:gd name="connsiteY3" fmla="*/ 1733400 h 1733400"/>
              <a:gd name="connsiteX4" fmla="*/ 1358196 w 3231214"/>
              <a:gd name="connsiteY4" fmla="*/ 1703582 h 1733400"/>
              <a:gd name="connsiteX0" fmla="*/ 1407891 w 3231214"/>
              <a:gd name="connsiteY0" fmla="*/ 1743338 h 1743338"/>
              <a:gd name="connsiteX1" fmla="*/ 7471 w 3231214"/>
              <a:gd name="connsiteY1" fmla="*/ 119270 h 1743338"/>
              <a:gd name="connsiteX2" fmla="*/ 0 w 3231214"/>
              <a:gd name="connsiteY2" fmla="*/ 0 h 1743338"/>
              <a:gd name="connsiteX3" fmla="*/ 3231214 w 3231214"/>
              <a:gd name="connsiteY3" fmla="*/ 1733400 h 1743338"/>
              <a:gd name="connsiteX4" fmla="*/ 1407891 w 3231214"/>
              <a:gd name="connsiteY4" fmla="*/ 1743338 h 1743338"/>
              <a:gd name="connsiteX0" fmla="*/ 1338318 w 3231214"/>
              <a:gd name="connsiteY0" fmla="*/ 1713521 h 1733400"/>
              <a:gd name="connsiteX1" fmla="*/ 7471 w 3231214"/>
              <a:gd name="connsiteY1" fmla="*/ 119270 h 1733400"/>
              <a:gd name="connsiteX2" fmla="*/ 0 w 3231214"/>
              <a:gd name="connsiteY2" fmla="*/ 0 h 1733400"/>
              <a:gd name="connsiteX3" fmla="*/ 3231214 w 3231214"/>
              <a:gd name="connsiteY3" fmla="*/ 1733400 h 1733400"/>
              <a:gd name="connsiteX4" fmla="*/ 1338318 w 3231214"/>
              <a:gd name="connsiteY4" fmla="*/ 1713521 h 1733400"/>
              <a:gd name="connsiteX0" fmla="*/ 1338318 w 3201396"/>
              <a:gd name="connsiteY0" fmla="*/ 1713521 h 1713522"/>
              <a:gd name="connsiteX1" fmla="*/ 7471 w 3201396"/>
              <a:gd name="connsiteY1" fmla="*/ 119270 h 1713522"/>
              <a:gd name="connsiteX2" fmla="*/ 0 w 3201396"/>
              <a:gd name="connsiteY2" fmla="*/ 0 h 1713522"/>
              <a:gd name="connsiteX3" fmla="*/ 3201396 w 3201396"/>
              <a:gd name="connsiteY3" fmla="*/ 1713522 h 1713522"/>
              <a:gd name="connsiteX4" fmla="*/ 1338318 w 3201396"/>
              <a:gd name="connsiteY4" fmla="*/ 1713521 h 1713522"/>
              <a:gd name="connsiteX0" fmla="*/ 1338318 w 4145613"/>
              <a:gd name="connsiteY0" fmla="*/ 1713521 h 1713521"/>
              <a:gd name="connsiteX1" fmla="*/ 7471 w 4145613"/>
              <a:gd name="connsiteY1" fmla="*/ 119270 h 1713521"/>
              <a:gd name="connsiteX2" fmla="*/ 0 w 4145613"/>
              <a:gd name="connsiteY2" fmla="*/ 0 h 1713521"/>
              <a:gd name="connsiteX3" fmla="*/ 4145613 w 4145613"/>
              <a:gd name="connsiteY3" fmla="*/ 1703583 h 1713521"/>
              <a:gd name="connsiteX4" fmla="*/ 1338318 w 4145613"/>
              <a:gd name="connsiteY4" fmla="*/ 1713521 h 1713521"/>
              <a:gd name="connsiteX0" fmla="*/ 1934666 w 4145613"/>
              <a:gd name="connsiteY0" fmla="*/ 1713521 h 1713521"/>
              <a:gd name="connsiteX1" fmla="*/ 7471 w 4145613"/>
              <a:gd name="connsiteY1" fmla="*/ 119270 h 1713521"/>
              <a:gd name="connsiteX2" fmla="*/ 0 w 4145613"/>
              <a:gd name="connsiteY2" fmla="*/ 0 h 1713521"/>
              <a:gd name="connsiteX3" fmla="*/ 4145613 w 4145613"/>
              <a:gd name="connsiteY3" fmla="*/ 1703583 h 1713521"/>
              <a:gd name="connsiteX4" fmla="*/ 1934666 w 4145613"/>
              <a:gd name="connsiteY4" fmla="*/ 1713521 h 1713521"/>
              <a:gd name="connsiteX0" fmla="*/ 1944191 w 4155138"/>
              <a:gd name="connsiteY0" fmla="*/ 1773846 h 1773846"/>
              <a:gd name="connsiteX1" fmla="*/ 16996 w 4155138"/>
              <a:gd name="connsiteY1" fmla="*/ 179595 h 1773846"/>
              <a:gd name="connsiteX2" fmla="*/ 0 w 4155138"/>
              <a:gd name="connsiteY2" fmla="*/ 0 h 1773846"/>
              <a:gd name="connsiteX3" fmla="*/ 4155138 w 4155138"/>
              <a:gd name="connsiteY3" fmla="*/ 1763908 h 1773846"/>
              <a:gd name="connsiteX4" fmla="*/ 1944191 w 4155138"/>
              <a:gd name="connsiteY4" fmla="*/ 1773846 h 1773846"/>
              <a:gd name="connsiteX0" fmla="*/ 1944191 w 4155138"/>
              <a:gd name="connsiteY0" fmla="*/ 1773846 h 1773846"/>
              <a:gd name="connsiteX1" fmla="*/ 13821 w 4155138"/>
              <a:gd name="connsiteY1" fmla="*/ 97045 h 1773846"/>
              <a:gd name="connsiteX2" fmla="*/ 0 w 4155138"/>
              <a:gd name="connsiteY2" fmla="*/ 0 h 1773846"/>
              <a:gd name="connsiteX3" fmla="*/ 4155138 w 4155138"/>
              <a:gd name="connsiteY3" fmla="*/ 1763908 h 1773846"/>
              <a:gd name="connsiteX4" fmla="*/ 1944191 w 4155138"/>
              <a:gd name="connsiteY4" fmla="*/ 1773846 h 1773846"/>
              <a:gd name="connsiteX0" fmla="*/ 1950541 w 4161488"/>
              <a:gd name="connsiteY0" fmla="*/ 1799246 h 1799246"/>
              <a:gd name="connsiteX1" fmla="*/ 20171 w 4161488"/>
              <a:gd name="connsiteY1" fmla="*/ 122445 h 1799246"/>
              <a:gd name="connsiteX2" fmla="*/ 0 w 4161488"/>
              <a:gd name="connsiteY2" fmla="*/ 0 h 1799246"/>
              <a:gd name="connsiteX3" fmla="*/ 4161488 w 4161488"/>
              <a:gd name="connsiteY3" fmla="*/ 1789308 h 1799246"/>
              <a:gd name="connsiteX4" fmla="*/ 1950541 w 4161488"/>
              <a:gd name="connsiteY4" fmla="*/ 1799246 h 1799246"/>
              <a:gd name="connsiteX0" fmla="*/ 1950541 w 4161488"/>
              <a:gd name="connsiteY0" fmla="*/ 1799246 h 1799246"/>
              <a:gd name="connsiteX1" fmla="*/ 20171 w 4161488"/>
              <a:gd name="connsiteY1" fmla="*/ 90695 h 1799246"/>
              <a:gd name="connsiteX2" fmla="*/ 0 w 4161488"/>
              <a:gd name="connsiteY2" fmla="*/ 0 h 1799246"/>
              <a:gd name="connsiteX3" fmla="*/ 4161488 w 4161488"/>
              <a:gd name="connsiteY3" fmla="*/ 1789308 h 1799246"/>
              <a:gd name="connsiteX4" fmla="*/ 1950541 w 4161488"/>
              <a:gd name="connsiteY4" fmla="*/ 1799246 h 1799246"/>
              <a:gd name="connsiteX0" fmla="*/ 1597615 w 4161488"/>
              <a:gd name="connsiteY0" fmla="*/ 1807267 h 1807267"/>
              <a:gd name="connsiteX1" fmla="*/ 20171 w 4161488"/>
              <a:gd name="connsiteY1" fmla="*/ 90695 h 1807267"/>
              <a:gd name="connsiteX2" fmla="*/ 0 w 4161488"/>
              <a:gd name="connsiteY2" fmla="*/ 0 h 1807267"/>
              <a:gd name="connsiteX3" fmla="*/ 4161488 w 4161488"/>
              <a:gd name="connsiteY3" fmla="*/ 1789308 h 1807267"/>
              <a:gd name="connsiteX4" fmla="*/ 1597615 w 4161488"/>
              <a:gd name="connsiteY4" fmla="*/ 1807267 h 1807267"/>
              <a:gd name="connsiteX0" fmla="*/ 1942520 w 4161488"/>
              <a:gd name="connsiteY0" fmla="*/ 1791225 h 1791225"/>
              <a:gd name="connsiteX1" fmla="*/ 20171 w 4161488"/>
              <a:gd name="connsiteY1" fmla="*/ 90695 h 1791225"/>
              <a:gd name="connsiteX2" fmla="*/ 0 w 4161488"/>
              <a:gd name="connsiteY2" fmla="*/ 0 h 1791225"/>
              <a:gd name="connsiteX3" fmla="*/ 4161488 w 4161488"/>
              <a:gd name="connsiteY3" fmla="*/ 1789308 h 1791225"/>
              <a:gd name="connsiteX4" fmla="*/ 1942520 w 4161488"/>
              <a:gd name="connsiteY4" fmla="*/ 1791225 h 1791225"/>
              <a:gd name="connsiteX0" fmla="*/ 1942520 w 2613425"/>
              <a:gd name="connsiteY0" fmla="*/ 1791225 h 1791225"/>
              <a:gd name="connsiteX1" fmla="*/ 20171 w 2613425"/>
              <a:gd name="connsiteY1" fmla="*/ 90695 h 1791225"/>
              <a:gd name="connsiteX2" fmla="*/ 0 w 2613425"/>
              <a:gd name="connsiteY2" fmla="*/ 0 h 1791225"/>
              <a:gd name="connsiteX3" fmla="*/ 2613425 w 2613425"/>
              <a:gd name="connsiteY3" fmla="*/ 1789308 h 1791225"/>
              <a:gd name="connsiteX4" fmla="*/ 1942520 w 2613425"/>
              <a:gd name="connsiteY4" fmla="*/ 1791225 h 1791225"/>
              <a:gd name="connsiteX0" fmla="*/ 1942520 w 2613425"/>
              <a:gd name="connsiteY0" fmla="*/ 1791225 h 1791225"/>
              <a:gd name="connsiteX1" fmla="*/ 12150 w 2613425"/>
              <a:gd name="connsiteY1" fmla="*/ 50589 h 1791225"/>
              <a:gd name="connsiteX2" fmla="*/ 0 w 2613425"/>
              <a:gd name="connsiteY2" fmla="*/ 0 h 1791225"/>
              <a:gd name="connsiteX3" fmla="*/ 2613425 w 2613425"/>
              <a:gd name="connsiteY3" fmla="*/ 1789308 h 1791225"/>
              <a:gd name="connsiteX4" fmla="*/ 1942520 w 2613425"/>
              <a:gd name="connsiteY4" fmla="*/ 1791225 h 1791225"/>
              <a:gd name="connsiteX0" fmla="*/ 1934499 w 2605404"/>
              <a:gd name="connsiteY0" fmla="*/ 1751120 h 1751120"/>
              <a:gd name="connsiteX1" fmla="*/ 4129 w 2605404"/>
              <a:gd name="connsiteY1" fmla="*/ 10484 h 1751120"/>
              <a:gd name="connsiteX2" fmla="*/ 0 w 2605404"/>
              <a:gd name="connsiteY2" fmla="*/ 0 h 1751120"/>
              <a:gd name="connsiteX3" fmla="*/ 2605404 w 2605404"/>
              <a:gd name="connsiteY3" fmla="*/ 1749203 h 1751120"/>
              <a:gd name="connsiteX4" fmla="*/ 1934499 w 2605404"/>
              <a:gd name="connsiteY4" fmla="*/ 1751120 h 1751120"/>
              <a:gd name="connsiteX0" fmla="*/ 1605636 w 2605404"/>
              <a:gd name="connsiteY0" fmla="*/ 1735078 h 1749203"/>
              <a:gd name="connsiteX1" fmla="*/ 4129 w 2605404"/>
              <a:gd name="connsiteY1" fmla="*/ 10484 h 1749203"/>
              <a:gd name="connsiteX2" fmla="*/ 0 w 2605404"/>
              <a:gd name="connsiteY2" fmla="*/ 0 h 1749203"/>
              <a:gd name="connsiteX3" fmla="*/ 2605404 w 2605404"/>
              <a:gd name="connsiteY3" fmla="*/ 1749203 h 1749203"/>
              <a:gd name="connsiteX4" fmla="*/ 1605636 w 2605404"/>
              <a:gd name="connsiteY4" fmla="*/ 1735078 h 1749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5404" h="1749203">
                <a:moveTo>
                  <a:pt x="1605636" y="1735078"/>
                </a:moveTo>
                <a:lnTo>
                  <a:pt x="4129" y="10484"/>
                </a:lnTo>
                <a:lnTo>
                  <a:pt x="0" y="0"/>
                </a:lnTo>
                <a:lnTo>
                  <a:pt x="2605404" y="1749203"/>
                </a:lnTo>
                <a:lnTo>
                  <a:pt x="1605636" y="173507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srgbClr val="FFFFFF"/>
              </a:solidFill>
              <a:latin typeface="Arial"/>
            </a:endParaRPr>
          </a:p>
        </p:txBody>
      </p:sp>
      <p:sp>
        <p:nvSpPr>
          <p:cNvPr id="50" name="Trapez 34">
            <a:extLst>
              <a:ext uri="{FF2B5EF4-FFF2-40B4-BE49-F238E27FC236}">
                <a16:creationId xmlns:a16="http://schemas.microsoft.com/office/drawing/2014/main" id="{47D2AAF4-1E14-4BD0-96E1-82A66DF101A2}"/>
              </a:ext>
            </a:extLst>
          </p:cNvPr>
          <p:cNvSpPr/>
          <p:nvPr/>
        </p:nvSpPr>
        <p:spPr>
          <a:xfrm>
            <a:off x="6057563" y="4199305"/>
            <a:ext cx="3300878" cy="1616418"/>
          </a:xfrm>
          <a:custGeom>
            <a:avLst/>
            <a:gdLst>
              <a:gd name="connsiteX0" fmla="*/ 0 w 720080"/>
              <a:gd name="connsiteY0" fmla="*/ 719608 h 719608"/>
              <a:gd name="connsiteX1" fmla="*/ 179902 w 720080"/>
              <a:gd name="connsiteY1" fmla="*/ 0 h 719608"/>
              <a:gd name="connsiteX2" fmla="*/ 540178 w 720080"/>
              <a:gd name="connsiteY2" fmla="*/ 0 h 719608"/>
              <a:gd name="connsiteX3" fmla="*/ 720080 w 720080"/>
              <a:gd name="connsiteY3" fmla="*/ 719608 h 719608"/>
              <a:gd name="connsiteX4" fmla="*/ 0 w 720080"/>
              <a:gd name="connsiteY4" fmla="*/ 719608 h 719608"/>
              <a:gd name="connsiteX0" fmla="*/ 734498 w 1454578"/>
              <a:gd name="connsiteY0" fmla="*/ 1435225 h 1435225"/>
              <a:gd name="connsiteX1" fmla="*/ 0 w 1454578"/>
              <a:gd name="connsiteY1" fmla="*/ 0 h 1435225"/>
              <a:gd name="connsiteX2" fmla="*/ 1274676 w 1454578"/>
              <a:gd name="connsiteY2" fmla="*/ 715617 h 1435225"/>
              <a:gd name="connsiteX3" fmla="*/ 1454578 w 1454578"/>
              <a:gd name="connsiteY3" fmla="*/ 1435225 h 1435225"/>
              <a:gd name="connsiteX4" fmla="*/ 734498 w 1454578"/>
              <a:gd name="connsiteY4" fmla="*/ 1435225 h 1435225"/>
              <a:gd name="connsiteX0" fmla="*/ 734498 w 1454578"/>
              <a:gd name="connsiteY0" fmla="*/ 1435226 h 1435226"/>
              <a:gd name="connsiteX1" fmla="*/ 0 w 1454578"/>
              <a:gd name="connsiteY1" fmla="*/ 1 h 1435226"/>
              <a:gd name="connsiteX2" fmla="*/ 211189 w 1454578"/>
              <a:gd name="connsiteY2" fmla="*/ 0 h 1435226"/>
              <a:gd name="connsiteX3" fmla="*/ 1454578 w 1454578"/>
              <a:gd name="connsiteY3" fmla="*/ 1435226 h 1435226"/>
              <a:gd name="connsiteX4" fmla="*/ 734498 w 1454578"/>
              <a:gd name="connsiteY4" fmla="*/ 1435226 h 1435226"/>
              <a:gd name="connsiteX0" fmla="*/ 734498 w 2905691"/>
              <a:gd name="connsiteY0" fmla="*/ 1435226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734498 w 2905691"/>
              <a:gd name="connsiteY4" fmla="*/ 1435226 h 1435226"/>
              <a:gd name="connsiteX0" fmla="*/ 1310968 w 2905691"/>
              <a:gd name="connsiteY0" fmla="*/ 1365652 h 1435226"/>
              <a:gd name="connsiteX1" fmla="*/ 0 w 2905691"/>
              <a:gd name="connsiteY1" fmla="*/ 1 h 1435226"/>
              <a:gd name="connsiteX2" fmla="*/ 211189 w 2905691"/>
              <a:gd name="connsiteY2" fmla="*/ 0 h 1435226"/>
              <a:gd name="connsiteX3" fmla="*/ 2905691 w 2905691"/>
              <a:gd name="connsiteY3" fmla="*/ 1435226 h 1435226"/>
              <a:gd name="connsiteX4" fmla="*/ 1310968 w 2905691"/>
              <a:gd name="connsiteY4" fmla="*/ 1365652 h 1435226"/>
              <a:gd name="connsiteX0" fmla="*/ 1310968 w 3015021"/>
              <a:gd name="connsiteY0" fmla="*/ 1365652 h 1385531"/>
              <a:gd name="connsiteX1" fmla="*/ 0 w 3015021"/>
              <a:gd name="connsiteY1" fmla="*/ 1 h 1385531"/>
              <a:gd name="connsiteX2" fmla="*/ 211189 w 3015021"/>
              <a:gd name="connsiteY2" fmla="*/ 0 h 1385531"/>
              <a:gd name="connsiteX3" fmla="*/ 3015021 w 3015021"/>
              <a:gd name="connsiteY3" fmla="*/ 1385531 h 1385531"/>
              <a:gd name="connsiteX4" fmla="*/ 1310968 w 3015021"/>
              <a:gd name="connsiteY4" fmla="*/ 1365652 h 1385531"/>
              <a:gd name="connsiteX0" fmla="*/ 1310968 w 3183986"/>
              <a:gd name="connsiteY0" fmla="*/ 1365652 h 1385531"/>
              <a:gd name="connsiteX1" fmla="*/ 0 w 3183986"/>
              <a:gd name="connsiteY1" fmla="*/ 1 h 1385531"/>
              <a:gd name="connsiteX2" fmla="*/ 211189 w 3183986"/>
              <a:gd name="connsiteY2" fmla="*/ 0 h 1385531"/>
              <a:gd name="connsiteX3" fmla="*/ 3183986 w 3183986"/>
              <a:gd name="connsiteY3" fmla="*/ 1385531 h 1385531"/>
              <a:gd name="connsiteX4" fmla="*/ 1310968 w 3183986"/>
              <a:gd name="connsiteY4" fmla="*/ 1365652 h 1385531"/>
              <a:gd name="connsiteX0" fmla="*/ 1310968 w 3183986"/>
              <a:gd name="connsiteY0" fmla="*/ 1415348 h 1435227"/>
              <a:gd name="connsiteX1" fmla="*/ 0 w 3183986"/>
              <a:gd name="connsiteY1" fmla="*/ 49697 h 1435227"/>
              <a:gd name="connsiteX2" fmla="*/ 201250 w 3183986"/>
              <a:gd name="connsiteY2" fmla="*/ 0 h 1435227"/>
              <a:gd name="connsiteX3" fmla="*/ 3183986 w 3183986"/>
              <a:gd name="connsiteY3" fmla="*/ 1435227 h 1435227"/>
              <a:gd name="connsiteX4" fmla="*/ 1310968 w 3183986"/>
              <a:gd name="connsiteY4" fmla="*/ 1415348 h 1435227"/>
              <a:gd name="connsiteX0" fmla="*/ 1271212 w 3144230"/>
              <a:gd name="connsiteY0" fmla="*/ 1415348 h 1435227"/>
              <a:gd name="connsiteX1" fmla="*/ 0 w 3144230"/>
              <a:gd name="connsiteY1" fmla="*/ 29819 h 1435227"/>
              <a:gd name="connsiteX2" fmla="*/ 161494 w 3144230"/>
              <a:gd name="connsiteY2" fmla="*/ 0 h 1435227"/>
              <a:gd name="connsiteX3" fmla="*/ 3144230 w 3144230"/>
              <a:gd name="connsiteY3" fmla="*/ 1435227 h 1435227"/>
              <a:gd name="connsiteX4" fmla="*/ 1271212 w 3144230"/>
              <a:gd name="connsiteY4" fmla="*/ 1415348 h 1435227"/>
              <a:gd name="connsiteX0" fmla="*/ 1251333 w 3124351"/>
              <a:gd name="connsiteY0" fmla="*/ 1415348 h 1435227"/>
              <a:gd name="connsiteX1" fmla="*/ 0 w 3124351"/>
              <a:gd name="connsiteY1" fmla="*/ 19879 h 1435227"/>
              <a:gd name="connsiteX2" fmla="*/ 141615 w 3124351"/>
              <a:gd name="connsiteY2" fmla="*/ 0 h 1435227"/>
              <a:gd name="connsiteX3" fmla="*/ 3124351 w 3124351"/>
              <a:gd name="connsiteY3" fmla="*/ 1435227 h 1435227"/>
              <a:gd name="connsiteX4" fmla="*/ 1251333 w 3124351"/>
              <a:gd name="connsiteY4" fmla="*/ 1415348 h 1435227"/>
              <a:gd name="connsiteX0" fmla="*/ 1251333 w 3124351"/>
              <a:gd name="connsiteY0" fmla="*/ 1455104 h 1474983"/>
              <a:gd name="connsiteX1" fmla="*/ 0 w 3124351"/>
              <a:gd name="connsiteY1" fmla="*/ 59635 h 1474983"/>
              <a:gd name="connsiteX2" fmla="*/ 32285 w 3124351"/>
              <a:gd name="connsiteY2" fmla="*/ 0 h 1474983"/>
              <a:gd name="connsiteX3" fmla="*/ 3124351 w 3124351"/>
              <a:gd name="connsiteY3" fmla="*/ 1474983 h 1474983"/>
              <a:gd name="connsiteX4" fmla="*/ 1251333 w 3124351"/>
              <a:gd name="connsiteY4" fmla="*/ 1455104 h 1474983"/>
              <a:gd name="connsiteX0" fmla="*/ 1219048 w 3092066"/>
              <a:gd name="connsiteY0" fmla="*/ 1455104 h 1474983"/>
              <a:gd name="connsiteX1" fmla="*/ 7471 w 3092066"/>
              <a:gd name="connsiteY1" fmla="*/ 119270 h 1474983"/>
              <a:gd name="connsiteX2" fmla="*/ 0 w 3092066"/>
              <a:gd name="connsiteY2" fmla="*/ 0 h 1474983"/>
              <a:gd name="connsiteX3" fmla="*/ 3092066 w 3092066"/>
              <a:gd name="connsiteY3" fmla="*/ 1474983 h 1474983"/>
              <a:gd name="connsiteX4" fmla="*/ 1219048 w 3092066"/>
              <a:gd name="connsiteY4" fmla="*/ 1455104 h 1474983"/>
              <a:gd name="connsiteX0" fmla="*/ 1358196 w 3092066"/>
              <a:gd name="connsiteY0" fmla="*/ 1703582 h 1703582"/>
              <a:gd name="connsiteX1" fmla="*/ 7471 w 3092066"/>
              <a:gd name="connsiteY1" fmla="*/ 119270 h 1703582"/>
              <a:gd name="connsiteX2" fmla="*/ 0 w 3092066"/>
              <a:gd name="connsiteY2" fmla="*/ 0 h 1703582"/>
              <a:gd name="connsiteX3" fmla="*/ 3092066 w 3092066"/>
              <a:gd name="connsiteY3" fmla="*/ 1474983 h 1703582"/>
              <a:gd name="connsiteX4" fmla="*/ 1358196 w 3092066"/>
              <a:gd name="connsiteY4" fmla="*/ 1703582 h 1703582"/>
              <a:gd name="connsiteX0" fmla="*/ 1358196 w 3231214"/>
              <a:gd name="connsiteY0" fmla="*/ 1703582 h 1733400"/>
              <a:gd name="connsiteX1" fmla="*/ 7471 w 3231214"/>
              <a:gd name="connsiteY1" fmla="*/ 119270 h 1733400"/>
              <a:gd name="connsiteX2" fmla="*/ 0 w 3231214"/>
              <a:gd name="connsiteY2" fmla="*/ 0 h 1733400"/>
              <a:gd name="connsiteX3" fmla="*/ 3231214 w 3231214"/>
              <a:gd name="connsiteY3" fmla="*/ 1733400 h 1733400"/>
              <a:gd name="connsiteX4" fmla="*/ 1358196 w 3231214"/>
              <a:gd name="connsiteY4" fmla="*/ 1703582 h 1733400"/>
              <a:gd name="connsiteX0" fmla="*/ 1407891 w 3231214"/>
              <a:gd name="connsiteY0" fmla="*/ 1743338 h 1743338"/>
              <a:gd name="connsiteX1" fmla="*/ 7471 w 3231214"/>
              <a:gd name="connsiteY1" fmla="*/ 119270 h 1743338"/>
              <a:gd name="connsiteX2" fmla="*/ 0 w 3231214"/>
              <a:gd name="connsiteY2" fmla="*/ 0 h 1743338"/>
              <a:gd name="connsiteX3" fmla="*/ 3231214 w 3231214"/>
              <a:gd name="connsiteY3" fmla="*/ 1733400 h 1743338"/>
              <a:gd name="connsiteX4" fmla="*/ 1407891 w 3231214"/>
              <a:gd name="connsiteY4" fmla="*/ 1743338 h 1743338"/>
              <a:gd name="connsiteX0" fmla="*/ 1338318 w 3231214"/>
              <a:gd name="connsiteY0" fmla="*/ 1713521 h 1733400"/>
              <a:gd name="connsiteX1" fmla="*/ 7471 w 3231214"/>
              <a:gd name="connsiteY1" fmla="*/ 119270 h 1733400"/>
              <a:gd name="connsiteX2" fmla="*/ 0 w 3231214"/>
              <a:gd name="connsiteY2" fmla="*/ 0 h 1733400"/>
              <a:gd name="connsiteX3" fmla="*/ 3231214 w 3231214"/>
              <a:gd name="connsiteY3" fmla="*/ 1733400 h 1733400"/>
              <a:gd name="connsiteX4" fmla="*/ 1338318 w 3231214"/>
              <a:gd name="connsiteY4" fmla="*/ 1713521 h 1733400"/>
              <a:gd name="connsiteX0" fmla="*/ 1338318 w 3201396"/>
              <a:gd name="connsiteY0" fmla="*/ 1713521 h 1713522"/>
              <a:gd name="connsiteX1" fmla="*/ 7471 w 3201396"/>
              <a:gd name="connsiteY1" fmla="*/ 119270 h 1713522"/>
              <a:gd name="connsiteX2" fmla="*/ 0 w 3201396"/>
              <a:gd name="connsiteY2" fmla="*/ 0 h 1713522"/>
              <a:gd name="connsiteX3" fmla="*/ 3201396 w 3201396"/>
              <a:gd name="connsiteY3" fmla="*/ 1713522 h 1713522"/>
              <a:gd name="connsiteX4" fmla="*/ 1338318 w 3201396"/>
              <a:gd name="connsiteY4" fmla="*/ 1713521 h 1713522"/>
              <a:gd name="connsiteX0" fmla="*/ 1338318 w 4145613"/>
              <a:gd name="connsiteY0" fmla="*/ 1713521 h 1713521"/>
              <a:gd name="connsiteX1" fmla="*/ 7471 w 4145613"/>
              <a:gd name="connsiteY1" fmla="*/ 119270 h 1713521"/>
              <a:gd name="connsiteX2" fmla="*/ 0 w 4145613"/>
              <a:gd name="connsiteY2" fmla="*/ 0 h 1713521"/>
              <a:gd name="connsiteX3" fmla="*/ 4145613 w 4145613"/>
              <a:gd name="connsiteY3" fmla="*/ 1703583 h 1713521"/>
              <a:gd name="connsiteX4" fmla="*/ 1338318 w 4145613"/>
              <a:gd name="connsiteY4" fmla="*/ 1713521 h 1713521"/>
              <a:gd name="connsiteX0" fmla="*/ 1934666 w 4145613"/>
              <a:gd name="connsiteY0" fmla="*/ 1713521 h 1713521"/>
              <a:gd name="connsiteX1" fmla="*/ 7471 w 4145613"/>
              <a:gd name="connsiteY1" fmla="*/ 119270 h 1713521"/>
              <a:gd name="connsiteX2" fmla="*/ 0 w 4145613"/>
              <a:gd name="connsiteY2" fmla="*/ 0 h 1713521"/>
              <a:gd name="connsiteX3" fmla="*/ 4145613 w 4145613"/>
              <a:gd name="connsiteY3" fmla="*/ 1703583 h 1713521"/>
              <a:gd name="connsiteX4" fmla="*/ 1934666 w 4145613"/>
              <a:gd name="connsiteY4" fmla="*/ 1713521 h 1713521"/>
              <a:gd name="connsiteX0" fmla="*/ 1944191 w 4155138"/>
              <a:gd name="connsiteY0" fmla="*/ 1773846 h 1773846"/>
              <a:gd name="connsiteX1" fmla="*/ 16996 w 4155138"/>
              <a:gd name="connsiteY1" fmla="*/ 179595 h 1773846"/>
              <a:gd name="connsiteX2" fmla="*/ 0 w 4155138"/>
              <a:gd name="connsiteY2" fmla="*/ 0 h 1773846"/>
              <a:gd name="connsiteX3" fmla="*/ 4155138 w 4155138"/>
              <a:gd name="connsiteY3" fmla="*/ 1763908 h 1773846"/>
              <a:gd name="connsiteX4" fmla="*/ 1944191 w 4155138"/>
              <a:gd name="connsiteY4" fmla="*/ 1773846 h 1773846"/>
              <a:gd name="connsiteX0" fmla="*/ 1944191 w 4155138"/>
              <a:gd name="connsiteY0" fmla="*/ 1773846 h 1773846"/>
              <a:gd name="connsiteX1" fmla="*/ 13821 w 4155138"/>
              <a:gd name="connsiteY1" fmla="*/ 97045 h 1773846"/>
              <a:gd name="connsiteX2" fmla="*/ 0 w 4155138"/>
              <a:gd name="connsiteY2" fmla="*/ 0 h 1773846"/>
              <a:gd name="connsiteX3" fmla="*/ 4155138 w 4155138"/>
              <a:gd name="connsiteY3" fmla="*/ 1763908 h 1773846"/>
              <a:gd name="connsiteX4" fmla="*/ 1944191 w 4155138"/>
              <a:gd name="connsiteY4" fmla="*/ 1773846 h 1773846"/>
              <a:gd name="connsiteX0" fmla="*/ 1950541 w 4161488"/>
              <a:gd name="connsiteY0" fmla="*/ 1799246 h 1799246"/>
              <a:gd name="connsiteX1" fmla="*/ 20171 w 4161488"/>
              <a:gd name="connsiteY1" fmla="*/ 122445 h 1799246"/>
              <a:gd name="connsiteX2" fmla="*/ 0 w 4161488"/>
              <a:gd name="connsiteY2" fmla="*/ 0 h 1799246"/>
              <a:gd name="connsiteX3" fmla="*/ 4161488 w 4161488"/>
              <a:gd name="connsiteY3" fmla="*/ 1789308 h 1799246"/>
              <a:gd name="connsiteX4" fmla="*/ 1950541 w 4161488"/>
              <a:gd name="connsiteY4" fmla="*/ 1799246 h 1799246"/>
              <a:gd name="connsiteX0" fmla="*/ 1950541 w 4161488"/>
              <a:gd name="connsiteY0" fmla="*/ 1799246 h 1799246"/>
              <a:gd name="connsiteX1" fmla="*/ 20171 w 4161488"/>
              <a:gd name="connsiteY1" fmla="*/ 90695 h 1799246"/>
              <a:gd name="connsiteX2" fmla="*/ 0 w 4161488"/>
              <a:gd name="connsiteY2" fmla="*/ 0 h 1799246"/>
              <a:gd name="connsiteX3" fmla="*/ 4161488 w 4161488"/>
              <a:gd name="connsiteY3" fmla="*/ 1789308 h 1799246"/>
              <a:gd name="connsiteX4" fmla="*/ 1950541 w 4161488"/>
              <a:gd name="connsiteY4" fmla="*/ 1799246 h 1799246"/>
              <a:gd name="connsiteX0" fmla="*/ 1597615 w 4161488"/>
              <a:gd name="connsiteY0" fmla="*/ 1807267 h 1807267"/>
              <a:gd name="connsiteX1" fmla="*/ 20171 w 4161488"/>
              <a:gd name="connsiteY1" fmla="*/ 90695 h 1807267"/>
              <a:gd name="connsiteX2" fmla="*/ 0 w 4161488"/>
              <a:gd name="connsiteY2" fmla="*/ 0 h 1807267"/>
              <a:gd name="connsiteX3" fmla="*/ 4161488 w 4161488"/>
              <a:gd name="connsiteY3" fmla="*/ 1789308 h 1807267"/>
              <a:gd name="connsiteX4" fmla="*/ 1597615 w 4161488"/>
              <a:gd name="connsiteY4" fmla="*/ 1807267 h 1807267"/>
              <a:gd name="connsiteX0" fmla="*/ 1942520 w 4161488"/>
              <a:gd name="connsiteY0" fmla="*/ 1791225 h 1791225"/>
              <a:gd name="connsiteX1" fmla="*/ 20171 w 4161488"/>
              <a:gd name="connsiteY1" fmla="*/ 90695 h 1791225"/>
              <a:gd name="connsiteX2" fmla="*/ 0 w 4161488"/>
              <a:gd name="connsiteY2" fmla="*/ 0 h 1791225"/>
              <a:gd name="connsiteX3" fmla="*/ 4161488 w 4161488"/>
              <a:gd name="connsiteY3" fmla="*/ 1789308 h 1791225"/>
              <a:gd name="connsiteX4" fmla="*/ 1942520 w 4161488"/>
              <a:gd name="connsiteY4" fmla="*/ 1791225 h 1791225"/>
              <a:gd name="connsiteX0" fmla="*/ 1942520 w 2613425"/>
              <a:gd name="connsiteY0" fmla="*/ 1791225 h 1791225"/>
              <a:gd name="connsiteX1" fmla="*/ 20171 w 2613425"/>
              <a:gd name="connsiteY1" fmla="*/ 90695 h 1791225"/>
              <a:gd name="connsiteX2" fmla="*/ 0 w 2613425"/>
              <a:gd name="connsiteY2" fmla="*/ 0 h 1791225"/>
              <a:gd name="connsiteX3" fmla="*/ 2613425 w 2613425"/>
              <a:gd name="connsiteY3" fmla="*/ 1789308 h 1791225"/>
              <a:gd name="connsiteX4" fmla="*/ 1942520 w 2613425"/>
              <a:gd name="connsiteY4" fmla="*/ 1791225 h 1791225"/>
              <a:gd name="connsiteX0" fmla="*/ 1942520 w 2613425"/>
              <a:gd name="connsiteY0" fmla="*/ 1791225 h 1791225"/>
              <a:gd name="connsiteX1" fmla="*/ 12150 w 2613425"/>
              <a:gd name="connsiteY1" fmla="*/ 50589 h 1791225"/>
              <a:gd name="connsiteX2" fmla="*/ 0 w 2613425"/>
              <a:gd name="connsiteY2" fmla="*/ 0 h 1791225"/>
              <a:gd name="connsiteX3" fmla="*/ 2613425 w 2613425"/>
              <a:gd name="connsiteY3" fmla="*/ 1789308 h 1791225"/>
              <a:gd name="connsiteX4" fmla="*/ 1942520 w 2613425"/>
              <a:gd name="connsiteY4" fmla="*/ 1791225 h 1791225"/>
              <a:gd name="connsiteX0" fmla="*/ 1934499 w 2605404"/>
              <a:gd name="connsiteY0" fmla="*/ 1751120 h 1751120"/>
              <a:gd name="connsiteX1" fmla="*/ 4129 w 2605404"/>
              <a:gd name="connsiteY1" fmla="*/ 10484 h 1751120"/>
              <a:gd name="connsiteX2" fmla="*/ 0 w 2605404"/>
              <a:gd name="connsiteY2" fmla="*/ 0 h 1751120"/>
              <a:gd name="connsiteX3" fmla="*/ 2605404 w 2605404"/>
              <a:gd name="connsiteY3" fmla="*/ 1749203 h 1751120"/>
              <a:gd name="connsiteX4" fmla="*/ 1934499 w 2605404"/>
              <a:gd name="connsiteY4" fmla="*/ 1751120 h 1751120"/>
              <a:gd name="connsiteX0" fmla="*/ 1934499 w 3575951"/>
              <a:gd name="connsiteY0" fmla="*/ 1751120 h 1751120"/>
              <a:gd name="connsiteX1" fmla="*/ 4129 w 3575951"/>
              <a:gd name="connsiteY1" fmla="*/ 10484 h 1751120"/>
              <a:gd name="connsiteX2" fmla="*/ 0 w 3575951"/>
              <a:gd name="connsiteY2" fmla="*/ 0 h 1751120"/>
              <a:gd name="connsiteX3" fmla="*/ 3575951 w 3575951"/>
              <a:gd name="connsiteY3" fmla="*/ 1741182 h 1751120"/>
              <a:gd name="connsiteX4" fmla="*/ 1934499 w 3575951"/>
              <a:gd name="connsiteY4" fmla="*/ 1751120 h 1751120"/>
              <a:gd name="connsiteX0" fmla="*/ 2792752 w 3575951"/>
              <a:gd name="connsiteY0" fmla="*/ 1727057 h 1741182"/>
              <a:gd name="connsiteX1" fmla="*/ 4129 w 3575951"/>
              <a:gd name="connsiteY1" fmla="*/ 10484 h 1741182"/>
              <a:gd name="connsiteX2" fmla="*/ 0 w 3575951"/>
              <a:gd name="connsiteY2" fmla="*/ 0 h 1741182"/>
              <a:gd name="connsiteX3" fmla="*/ 3575951 w 3575951"/>
              <a:gd name="connsiteY3" fmla="*/ 1741182 h 1741182"/>
              <a:gd name="connsiteX4" fmla="*/ 2792752 w 3575951"/>
              <a:gd name="connsiteY4" fmla="*/ 1727057 h 1741182"/>
              <a:gd name="connsiteX0" fmla="*/ 2808794 w 3575951"/>
              <a:gd name="connsiteY0" fmla="*/ 1751120 h 1751120"/>
              <a:gd name="connsiteX1" fmla="*/ 4129 w 3575951"/>
              <a:gd name="connsiteY1" fmla="*/ 10484 h 1751120"/>
              <a:gd name="connsiteX2" fmla="*/ 0 w 3575951"/>
              <a:gd name="connsiteY2" fmla="*/ 0 h 1751120"/>
              <a:gd name="connsiteX3" fmla="*/ 3575951 w 3575951"/>
              <a:gd name="connsiteY3" fmla="*/ 1741182 h 1751120"/>
              <a:gd name="connsiteX4" fmla="*/ 2808794 w 3575951"/>
              <a:gd name="connsiteY4" fmla="*/ 1751120 h 17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5951" h="1751120">
                <a:moveTo>
                  <a:pt x="2808794" y="1751120"/>
                </a:moveTo>
                <a:lnTo>
                  <a:pt x="4129" y="10484"/>
                </a:lnTo>
                <a:lnTo>
                  <a:pt x="0" y="0"/>
                </a:lnTo>
                <a:lnTo>
                  <a:pt x="3575951" y="1741182"/>
                </a:lnTo>
                <a:lnTo>
                  <a:pt x="2808794" y="175112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Rectangle 57">
            <a:extLst>
              <a:ext uri="{FF2B5EF4-FFF2-40B4-BE49-F238E27FC236}">
                <a16:creationId xmlns:a16="http://schemas.microsoft.com/office/drawing/2014/main" id="{3AE6019A-FCA4-43D1-8C30-2500492C9785}"/>
              </a:ext>
            </a:extLst>
          </p:cNvPr>
          <p:cNvSpPr/>
          <p:nvPr/>
        </p:nvSpPr>
        <p:spPr bwMode="auto">
          <a:xfrm rot="17640000">
            <a:off x="3655947" y="3072276"/>
            <a:ext cx="14157" cy="722033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2" name="Rectangle 59">
            <a:extLst>
              <a:ext uri="{FF2B5EF4-FFF2-40B4-BE49-F238E27FC236}">
                <a16:creationId xmlns:a16="http://schemas.microsoft.com/office/drawing/2014/main" id="{3F289B0D-BD98-4768-932A-986C16A93BB5}"/>
              </a:ext>
            </a:extLst>
          </p:cNvPr>
          <p:cNvSpPr/>
          <p:nvPr/>
        </p:nvSpPr>
        <p:spPr bwMode="auto">
          <a:xfrm rot="15960000" flipH="1">
            <a:off x="3439159" y="3166085"/>
            <a:ext cx="13292" cy="216028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3" name="Rectangle 40">
            <a:extLst>
              <a:ext uri="{FF2B5EF4-FFF2-40B4-BE49-F238E27FC236}">
                <a16:creationId xmlns:a16="http://schemas.microsoft.com/office/drawing/2014/main" id="{D02A9097-B88E-417C-BEE6-80A1B270E13B}"/>
              </a:ext>
            </a:extLst>
          </p:cNvPr>
          <p:cNvSpPr/>
          <p:nvPr/>
        </p:nvSpPr>
        <p:spPr bwMode="auto">
          <a:xfrm>
            <a:off x="3572079" y="3228631"/>
            <a:ext cx="44936" cy="87163"/>
          </a:xfrm>
          <a:prstGeom prst="rect">
            <a:avLst/>
          </a:prstGeom>
          <a:solidFill>
            <a:srgbClr val="FF6600"/>
          </a:solidFill>
          <a:ln w="127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OffAxis1Right"/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spcFirstLastPara="0" vertOverflow="overflow" horzOverflow="overflow" vert="horz" wrap="none" lIns="70787" tIns="36810" rIns="70787" bIns="368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92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sz="1258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54" name="Group 7">
            <a:extLst>
              <a:ext uri="{FF2B5EF4-FFF2-40B4-BE49-F238E27FC236}">
                <a16:creationId xmlns:a16="http://schemas.microsoft.com/office/drawing/2014/main" id="{6161079C-1D26-4C83-8FD0-D8CCF58F17C5}"/>
              </a:ext>
            </a:extLst>
          </p:cNvPr>
          <p:cNvGrpSpPr/>
          <p:nvPr/>
        </p:nvGrpSpPr>
        <p:grpSpPr>
          <a:xfrm>
            <a:off x="3470761" y="3038689"/>
            <a:ext cx="211603" cy="199322"/>
            <a:chOff x="1737876" y="2148913"/>
            <a:chExt cx="229237" cy="215932"/>
          </a:xfrm>
          <a:solidFill>
            <a:srgbClr val="FF6600"/>
          </a:solidFill>
        </p:grpSpPr>
        <p:sp>
          <p:nvSpPr>
            <p:cNvPr id="55" name="Halbbogen 54">
              <a:extLst>
                <a:ext uri="{FF2B5EF4-FFF2-40B4-BE49-F238E27FC236}">
                  <a16:creationId xmlns:a16="http://schemas.microsoft.com/office/drawing/2014/main" id="{143823A6-86D6-4775-B15F-35A52994E407}"/>
                </a:ext>
              </a:extLst>
            </p:cNvPr>
            <p:cNvSpPr/>
            <p:nvPr/>
          </p:nvSpPr>
          <p:spPr>
            <a:xfrm>
              <a:off x="1804448" y="2281502"/>
              <a:ext cx="100855" cy="83343"/>
            </a:xfrm>
            <a:prstGeom prst="blockArc">
              <a:avLst/>
            </a:prstGeom>
            <a:grpFill/>
            <a:ln w="0">
              <a:solidFill>
                <a:srgbClr val="FF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6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Halbbogen 55">
              <a:extLst>
                <a:ext uri="{FF2B5EF4-FFF2-40B4-BE49-F238E27FC236}">
                  <a16:creationId xmlns:a16="http://schemas.microsoft.com/office/drawing/2014/main" id="{844BE2B8-87DD-4BD0-97AB-B8EA5B15B963}"/>
                </a:ext>
              </a:extLst>
            </p:cNvPr>
            <p:cNvSpPr/>
            <p:nvPr/>
          </p:nvSpPr>
          <p:spPr>
            <a:xfrm>
              <a:off x="1774931" y="2218530"/>
              <a:ext cx="159887" cy="112962"/>
            </a:xfrm>
            <a:prstGeom prst="blockArc">
              <a:avLst/>
            </a:prstGeom>
            <a:grpFill/>
            <a:ln w="0">
              <a:solidFill>
                <a:srgbClr val="FF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6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Halbbogen 56">
              <a:extLst>
                <a:ext uri="{FF2B5EF4-FFF2-40B4-BE49-F238E27FC236}">
                  <a16:creationId xmlns:a16="http://schemas.microsoft.com/office/drawing/2014/main" id="{AC5928AE-1998-4F4E-A857-51CB14A99910}"/>
                </a:ext>
              </a:extLst>
            </p:cNvPr>
            <p:cNvSpPr/>
            <p:nvPr/>
          </p:nvSpPr>
          <p:spPr>
            <a:xfrm>
              <a:off x="1737876" y="2148913"/>
              <a:ext cx="229237" cy="128773"/>
            </a:xfrm>
            <a:prstGeom prst="blockArc">
              <a:avLst>
                <a:gd name="adj1" fmla="val 10751320"/>
                <a:gd name="adj2" fmla="val 0"/>
                <a:gd name="adj3" fmla="val 25000"/>
              </a:avLst>
            </a:prstGeom>
            <a:grpFill/>
            <a:ln w="0">
              <a:solidFill>
                <a:srgbClr val="FF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62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58" name="TextBox 23">
            <a:extLst>
              <a:ext uri="{FF2B5EF4-FFF2-40B4-BE49-F238E27FC236}">
                <a16:creationId xmlns:a16="http://schemas.microsoft.com/office/drawing/2014/main" id="{53BDCE1E-3D80-427A-8F84-DDD04AAE6722}"/>
              </a:ext>
            </a:extLst>
          </p:cNvPr>
          <p:cNvSpPr txBox="1"/>
          <p:nvPr/>
        </p:nvSpPr>
        <p:spPr>
          <a:xfrm>
            <a:off x="5108201" y="2558372"/>
            <a:ext cx="990941" cy="234360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923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Intelligent Light</a:t>
            </a:r>
          </a:p>
        </p:txBody>
      </p:sp>
    </p:spTree>
    <p:extLst>
      <p:ext uri="{BB962C8B-B14F-4D97-AF65-F5344CB8AC3E}">
        <p14:creationId xmlns:p14="http://schemas.microsoft.com/office/powerpoint/2010/main" val="631585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11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11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100"/>
                            </p:stCondLst>
                            <p:childTnLst>
                              <p:par>
                                <p:cTn id="6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600"/>
                            </p:stCondLst>
                            <p:childTnLst>
                              <p:par>
                                <p:cTn id="6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2100"/>
                            </p:stCondLst>
                            <p:childTnLst>
                              <p:par>
                                <p:cTn id="7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2600"/>
                            </p:stCondLst>
                            <p:childTnLst>
                              <p:par>
                                <p:cTn id="7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600"/>
                            </p:stCondLst>
                            <p:childTnLst>
                              <p:par>
                                <p:cTn id="7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3100"/>
                            </p:stCondLst>
                            <p:childTnLst>
                              <p:par>
                                <p:cTn id="8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3600"/>
                            </p:stCondLst>
                            <p:childTnLst>
                              <p:par>
                                <p:cTn id="9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4" dur="3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4100"/>
                            </p:stCondLst>
                            <p:childTnLst>
                              <p:par>
                                <p:cTn id="11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6" dur="3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3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2" dur="3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5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8" dur="3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4400"/>
                            </p:stCondLst>
                            <p:childTnLst>
                              <p:par>
                                <p:cTn id="13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2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7" grpId="0" animBg="1"/>
      <p:bldP spid="12" grpId="0" animBg="1"/>
      <p:bldP spid="13" grpId="0"/>
      <p:bldP spid="14" grpId="0" animBg="1"/>
      <p:bldP spid="15" grpId="0" animBg="1"/>
      <p:bldP spid="16" grpId="0"/>
      <p:bldP spid="17" grpId="0"/>
      <p:bldP spid="18" grpId="0"/>
      <p:bldP spid="19" grpId="0"/>
      <p:bldP spid="20" grpId="0" animBg="1"/>
      <p:bldP spid="21" grpId="0" animBg="1"/>
      <p:bldP spid="22" grpId="0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43" grpId="0" animBg="1"/>
      <p:bldP spid="44" grpId="0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hteck 62"/>
          <p:cNvSpPr/>
          <p:nvPr/>
        </p:nvSpPr>
        <p:spPr bwMode="gray">
          <a:xfrm>
            <a:off x="0" y="0"/>
            <a:ext cx="12192000" cy="6305909"/>
          </a:xfrm>
          <a:prstGeom prst="rect">
            <a:avLst/>
          </a:prstGeom>
          <a:solidFill>
            <a:srgbClr val="06060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5" name="Picture 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67408" y="1412875"/>
            <a:ext cx="9219088" cy="4428540"/>
          </a:xfrm>
          <a:prstGeom prst="rect">
            <a:avLst/>
          </a:prstGeom>
          <a:solidFill>
            <a:srgbClr val="060606"/>
          </a:solidFill>
        </p:spPr>
      </p:pic>
      <p:sp>
        <p:nvSpPr>
          <p:cNvPr id="76" name="Rechteck 75"/>
          <p:cNvSpPr/>
          <p:nvPr/>
        </p:nvSpPr>
        <p:spPr bwMode="gray">
          <a:xfrm flipH="1">
            <a:off x="9510802" y="3429000"/>
            <a:ext cx="475694" cy="1476375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7" name="Text Box 49"/>
          <p:cNvSpPr txBox="1">
            <a:spLocks noChangeArrowheads="1"/>
          </p:cNvSpPr>
          <p:nvPr/>
        </p:nvSpPr>
        <p:spPr bwMode="gray">
          <a:xfrm>
            <a:off x="1726145" y="2879756"/>
            <a:ext cx="10830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r light</a:t>
            </a:r>
          </a:p>
        </p:txBody>
      </p:sp>
      <p:sp>
        <p:nvSpPr>
          <p:cNvPr id="78" name="Text Box 49"/>
          <p:cNvSpPr txBox="1">
            <a:spLocks noChangeArrowheads="1"/>
          </p:cNvSpPr>
          <p:nvPr/>
        </p:nvSpPr>
        <p:spPr bwMode="gray">
          <a:xfrm>
            <a:off x="3520251" y="2306565"/>
            <a:ext cx="16892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ior lighting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bient lighting</a:t>
            </a:r>
          </a:p>
        </p:txBody>
      </p:sp>
      <p:sp>
        <p:nvSpPr>
          <p:cNvPr id="79" name="Text Box 49"/>
          <p:cNvSpPr txBox="1">
            <a:spLocks noChangeArrowheads="1"/>
          </p:cNvSpPr>
          <p:nvPr/>
        </p:nvSpPr>
        <p:spPr bwMode="gray">
          <a:xfrm>
            <a:off x="5481040" y="5119474"/>
            <a:ext cx="148828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gnal lighting</a:t>
            </a:r>
          </a:p>
        </p:txBody>
      </p:sp>
      <p:sp>
        <p:nvSpPr>
          <p:cNvPr id="80" name="Text Box 72"/>
          <p:cNvSpPr txBox="1">
            <a:spLocks noChangeArrowheads="1"/>
          </p:cNvSpPr>
          <p:nvPr/>
        </p:nvSpPr>
        <p:spPr bwMode="gray">
          <a:xfrm>
            <a:off x="7843799" y="5461632"/>
            <a:ext cx="16815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>
            <a:defPPr>
              <a:defRPr lang="de-DE"/>
            </a:defPPr>
            <a:lvl1pPr algn="l" eaLnBrk="0" hangingPunct="0">
              <a:defRPr sz="1000">
                <a:solidFill>
                  <a:srgbClr val="58585A"/>
                </a:solidFill>
              </a:defRPr>
            </a:lvl1pPr>
          </a:lstStyle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ytime running light</a:t>
            </a:r>
          </a:p>
        </p:txBody>
      </p:sp>
      <p:sp>
        <p:nvSpPr>
          <p:cNvPr id="81" name="Text Box 49"/>
          <p:cNvSpPr txBox="1">
            <a:spLocks noChangeArrowheads="1"/>
          </p:cNvSpPr>
          <p:nvPr/>
        </p:nvSpPr>
        <p:spPr bwMode="gray">
          <a:xfrm>
            <a:off x="9634480" y="2171565"/>
            <a:ext cx="170300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>
            <a:defPPr>
              <a:defRPr lang="de-DE"/>
            </a:defPPr>
            <a:lvl1pPr marL="0" marR="0" lvl="0" indent="0" algn="l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 projection</a:t>
            </a:r>
          </a:p>
        </p:txBody>
      </p:sp>
      <p:cxnSp>
        <p:nvCxnSpPr>
          <p:cNvPr id="91" name="Gerade Verbindung mit Pfeil 90"/>
          <p:cNvCxnSpPr/>
          <p:nvPr/>
        </p:nvCxnSpPr>
        <p:spPr bwMode="gray">
          <a:xfrm>
            <a:off x="4451468" y="2809811"/>
            <a:ext cx="0" cy="454966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mit Pfeil 91"/>
          <p:cNvCxnSpPr/>
          <p:nvPr/>
        </p:nvCxnSpPr>
        <p:spPr bwMode="gray">
          <a:xfrm>
            <a:off x="2267663" y="3223212"/>
            <a:ext cx="0" cy="721175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Gerade Verbindung mit Pfeil 92"/>
          <p:cNvCxnSpPr/>
          <p:nvPr/>
        </p:nvCxnSpPr>
        <p:spPr bwMode="gray">
          <a:xfrm flipV="1">
            <a:off x="8662573" y="4054678"/>
            <a:ext cx="0" cy="1372438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Gerade Verbindung mit Pfeil 93"/>
          <p:cNvCxnSpPr/>
          <p:nvPr/>
        </p:nvCxnSpPr>
        <p:spPr bwMode="gray">
          <a:xfrm flipV="1">
            <a:off x="8970970" y="4167187"/>
            <a:ext cx="0" cy="446377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Text Box 49"/>
          <p:cNvSpPr txBox="1">
            <a:spLocks noChangeArrowheads="1"/>
          </p:cNvSpPr>
          <p:nvPr/>
        </p:nvSpPr>
        <p:spPr bwMode="gray">
          <a:xfrm>
            <a:off x="9152786" y="4389429"/>
            <a:ext cx="173300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nt lighting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LED, laser, matrix)</a:t>
            </a:r>
          </a:p>
        </p:txBody>
      </p:sp>
      <p:cxnSp>
        <p:nvCxnSpPr>
          <p:cNvPr id="96" name="Gerade Verbindung mit Pfeil 95"/>
          <p:cNvCxnSpPr/>
          <p:nvPr/>
        </p:nvCxnSpPr>
        <p:spPr bwMode="gray">
          <a:xfrm>
            <a:off x="8967918" y="2306565"/>
            <a:ext cx="0" cy="1544861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" name="Gerade Verbindung mit Pfeil 96"/>
          <p:cNvCxnSpPr/>
          <p:nvPr/>
        </p:nvCxnSpPr>
        <p:spPr bwMode="gray">
          <a:xfrm flipV="1">
            <a:off x="8545304" y="4021429"/>
            <a:ext cx="0" cy="1222893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Gerade Verbindung mit Pfeil 97"/>
          <p:cNvCxnSpPr/>
          <p:nvPr/>
        </p:nvCxnSpPr>
        <p:spPr bwMode="gray">
          <a:xfrm flipV="1">
            <a:off x="2496632" y="4021429"/>
            <a:ext cx="0" cy="1222893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Text Box 49"/>
          <p:cNvSpPr txBox="1">
            <a:spLocks noChangeArrowheads="1"/>
          </p:cNvSpPr>
          <p:nvPr/>
        </p:nvSpPr>
        <p:spPr bwMode="gray">
          <a:xfrm>
            <a:off x="6525374" y="4173618"/>
            <a:ext cx="148828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ght Control Units</a:t>
            </a:r>
          </a:p>
        </p:txBody>
      </p:sp>
      <p:cxnSp>
        <p:nvCxnSpPr>
          <p:cNvPr id="100" name="Gerade Verbindung mit Pfeil 99"/>
          <p:cNvCxnSpPr/>
          <p:nvPr/>
        </p:nvCxnSpPr>
        <p:spPr bwMode="gray">
          <a:xfrm>
            <a:off x="8046271" y="4281340"/>
            <a:ext cx="239539" cy="0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1" name="Text Box 49"/>
          <p:cNvSpPr txBox="1">
            <a:spLocks noChangeArrowheads="1"/>
          </p:cNvSpPr>
          <p:nvPr/>
        </p:nvSpPr>
        <p:spPr bwMode="gray">
          <a:xfrm>
            <a:off x="4391762" y="3735940"/>
            <a:ext cx="19449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ghtfunction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lgorithms</a:t>
            </a:r>
          </a:p>
        </p:txBody>
      </p:sp>
      <p:cxnSp>
        <p:nvCxnSpPr>
          <p:cNvPr id="102" name="Gerade Verbindung mit Pfeil 101"/>
          <p:cNvCxnSpPr/>
          <p:nvPr/>
        </p:nvCxnSpPr>
        <p:spPr bwMode="gray">
          <a:xfrm>
            <a:off x="6336712" y="3843662"/>
            <a:ext cx="734697" cy="0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" name="Grafik 10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1234" y="3634366"/>
            <a:ext cx="822564" cy="634035"/>
          </a:xfrm>
          <a:prstGeom prst="rect">
            <a:avLst/>
          </a:prstGeom>
        </p:spPr>
      </p:pic>
      <p:pic>
        <p:nvPicPr>
          <p:cNvPr id="105" name="Grafik 10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80256" y="2599886"/>
            <a:ext cx="826363" cy="678132"/>
          </a:xfrm>
          <a:prstGeom prst="rect">
            <a:avLst/>
          </a:prstGeom>
        </p:spPr>
      </p:pic>
      <p:pic>
        <p:nvPicPr>
          <p:cNvPr id="107" name="Grafik 106"/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75" b="93177" l="1829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985470" y="5316593"/>
            <a:ext cx="1015937" cy="636097"/>
          </a:xfrm>
          <a:prstGeom prst="rect">
            <a:avLst/>
          </a:prstGeom>
        </p:spPr>
      </p:pic>
      <p:pic>
        <p:nvPicPr>
          <p:cNvPr id="109" name="Picture 2" descr="http://www.bmw.com/com/de/insights/technology/technology_guide/articles/_shared/img/cornering_lights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2448" y="4108393"/>
            <a:ext cx="825734" cy="496480"/>
          </a:xfrm>
          <a:prstGeom prst="rect">
            <a:avLst/>
          </a:prstGeom>
          <a:noFill/>
        </p:spPr>
      </p:pic>
      <p:pic>
        <p:nvPicPr>
          <p:cNvPr id="110" name="Picture 3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725940" y="4071013"/>
            <a:ext cx="733286" cy="63609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" name="Picture 1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0" r="100000">
                        <a14:foregroundMark x1="92537" y1="40488" x2="92537" y2="40488"/>
                        <a14:foregroundMark x1="94527" y1="48780" x2="94527" y2="48780"/>
                        <a14:foregroundMark x1="96766" y1="77561" x2="96766" y2="77561"/>
                        <a14:foregroundMark x1="88806" y1="85366" x2="88806" y2="85366"/>
                        <a14:foregroundMark x1="71891" y1="91707" x2="71891" y2="91707"/>
                        <a14:foregroundMark x1="97761" y1="97073" x2="97761" y2="97073"/>
                        <a14:foregroundMark x1="17910" y1="67317" x2="17910" y2="67317"/>
                        <a14:foregroundMark x1="17413" y1="72195" x2="17413" y2="72195"/>
                        <a14:foregroundMark x1="15672" y1="82439" x2="15672" y2="82439"/>
                        <a14:foregroundMark x1="17413" y1="78049" x2="17413" y2="78049"/>
                        <a14:foregroundMark x1="11194" y1="89756" x2="11194" y2="89756"/>
                        <a14:foregroundMark x1="10199" y1="97073" x2="10199" y2="97073"/>
                        <a14:foregroundMark x1="14179" y1="67805" x2="14179" y2="67805"/>
                        <a14:foregroundMark x1="62687" y1="92195" x2="62687" y2="92195"/>
                        <a14:foregroundMark x1="68159" y1="90244" x2="68159" y2="90244"/>
                        <a14:foregroundMark x1="82587" y1="87805" x2="82587" y2="87805"/>
                        <a14:foregroundMark x1="95522" y1="37073" x2="95522" y2="37073"/>
                        <a14:foregroundMark x1="11940" y1="79024" x2="11940" y2="7902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164677" y="2658588"/>
            <a:ext cx="1262910" cy="644018"/>
          </a:xfrm>
          <a:prstGeom prst="rect">
            <a:avLst/>
          </a:prstGeom>
          <a:effectLst>
            <a:softEdge rad="1143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Grafik 111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374408">
            <a:off x="11198634" y="4375322"/>
            <a:ext cx="636117" cy="753132"/>
          </a:xfrm>
          <a:prstGeom prst="rect">
            <a:avLst/>
          </a:prstGeom>
        </p:spPr>
      </p:pic>
      <p:pic>
        <p:nvPicPr>
          <p:cNvPr id="113" name="Grafik 11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459" y="3539743"/>
            <a:ext cx="911982" cy="366914"/>
          </a:xfrm>
          <a:prstGeom prst="rect">
            <a:avLst/>
          </a:prstGeom>
        </p:spPr>
      </p:pic>
      <p:pic>
        <p:nvPicPr>
          <p:cNvPr id="114" name="Grafik 113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01967" y="1753162"/>
            <a:ext cx="766747" cy="57702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15" name="Gerader Verbinder 114"/>
          <p:cNvCxnSpPr/>
          <p:nvPr/>
        </p:nvCxnSpPr>
        <p:spPr bwMode="auto">
          <a:xfrm>
            <a:off x="8967918" y="2306565"/>
            <a:ext cx="55743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6" name="Gerader Verbinder 115"/>
          <p:cNvCxnSpPr/>
          <p:nvPr/>
        </p:nvCxnSpPr>
        <p:spPr bwMode="auto">
          <a:xfrm>
            <a:off x="6672064" y="5244322"/>
            <a:ext cx="1866793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7" name="Gerader Verbinder 116"/>
          <p:cNvCxnSpPr/>
          <p:nvPr/>
        </p:nvCxnSpPr>
        <p:spPr bwMode="auto">
          <a:xfrm>
            <a:off x="2496632" y="5244322"/>
            <a:ext cx="288032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8" name="Grafik 2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962" y="4284555"/>
            <a:ext cx="1062580" cy="535761"/>
          </a:xfrm>
          <a:prstGeom prst="rect">
            <a:avLst/>
          </a:prstGeom>
        </p:spPr>
      </p:pic>
      <p:pic>
        <p:nvPicPr>
          <p:cNvPr id="120" name="Picture 4"/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389411" y="5160795"/>
            <a:ext cx="755993" cy="554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2988338" lon="944767" rev="2462450"/>
            </a:camera>
            <a:lightRig rig="threePt" dir="t"/>
          </a:scene3d>
        </p:spPr>
      </p:pic>
      <p:sp>
        <p:nvSpPr>
          <p:cNvPr id="72" name="Title 1"/>
          <p:cNvSpPr>
            <a:spLocks noGrp="1"/>
          </p:cNvSpPr>
          <p:nvPr>
            <p:ph type="title"/>
          </p:nvPr>
        </p:nvSpPr>
        <p:spPr>
          <a:xfrm>
            <a:off x="226800" y="144000"/>
            <a:ext cx="11727386" cy="443198"/>
          </a:xfrm>
        </p:spPr>
        <p:txBody>
          <a:bodyPr/>
          <a:lstStyle/>
          <a:p>
            <a:r>
              <a:rPr lang="en-US" sz="3200">
                <a:solidFill>
                  <a:schemeClr val="bg1"/>
                </a:solidFill>
              </a:rPr>
              <a:t>No intelligent light without OSRAM Continental</a:t>
            </a:r>
          </a:p>
        </p:txBody>
      </p:sp>
    </p:spTree>
    <p:extLst>
      <p:ext uri="{BB962C8B-B14F-4D97-AF65-F5344CB8AC3E}">
        <p14:creationId xmlns:p14="http://schemas.microsoft.com/office/powerpoint/2010/main" val="3399960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7" imgW="270" imgH="270" progId="TCLayout.ActiveDocument.1">
                  <p:embed/>
                </p:oleObj>
              </mc:Choice>
              <mc:Fallback>
                <p:oleObj name="think-cell Folie" r:id="rId17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7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"/>
          <p:cNvGrpSpPr>
            <a:grpSpLocks noChangeAspect="1"/>
          </p:cNvGrpSpPr>
          <p:nvPr/>
        </p:nvGrpSpPr>
        <p:grpSpPr>
          <a:xfrm>
            <a:off x="2289468" y="1593653"/>
            <a:ext cx="7611330" cy="4423970"/>
            <a:chOff x="395288" y="1901766"/>
            <a:chExt cx="8353424" cy="4062529"/>
          </a:xfrm>
        </p:grpSpPr>
        <p:sp>
          <p:nvSpPr>
            <p:cNvPr id="27" name="Freeform 3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2666062" y="5039910"/>
              <a:ext cx="456739" cy="912706"/>
            </a:xfrm>
            <a:custGeom>
              <a:avLst/>
              <a:gdLst/>
              <a:ahLst/>
              <a:cxnLst/>
              <a:rect l="l" t="t" r="r" b="b"/>
              <a:pathLst>
                <a:path w="456739" h="912706">
                  <a:moveTo>
                    <a:pt x="110368" y="829995"/>
                  </a:moveTo>
                  <a:lnTo>
                    <a:pt x="119232" y="844463"/>
                  </a:lnTo>
                  <a:lnTo>
                    <a:pt x="130773" y="868050"/>
                  </a:lnTo>
                  <a:lnTo>
                    <a:pt x="160781" y="887087"/>
                  </a:lnTo>
                  <a:lnTo>
                    <a:pt x="193096" y="895063"/>
                  </a:lnTo>
                  <a:lnTo>
                    <a:pt x="182709" y="911097"/>
                  </a:lnTo>
                  <a:lnTo>
                    <a:pt x="160781" y="912706"/>
                  </a:lnTo>
                  <a:lnTo>
                    <a:pt x="149010" y="901361"/>
                  </a:lnTo>
                  <a:lnTo>
                    <a:pt x="135102" y="900503"/>
                  </a:lnTo>
                  <a:lnTo>
                    <a:pt x="110383" y="900486"/>
                  </a:lnTo>
                  <a:close/>
                  <a:moveTo>
                    <a:pt x="164858" y="0"/>
                  </a:moveTo>
                  <a:lnTo>
                    <a:pt x="195061" y="5897"/>
                  </a:lnTo>
                  <a:lnTo>
                    <a:pt x="208631" y="23421"/>
                  </a:lnTo>
                  <a:lnTo>
                    <a:pt x="217637" y="3905"/>
                  </a:lnTo>
                  <a:lnTo>
                    <a:pt x="243960" y="4906"/>
                  </a:lnTo>
                  <a:lnTo>
                    <a:pt x="247686" y="10093"/>
                  </a:lnTo>
                  <a:lnTo>
                    <a:pt x="290123" y="49799"/>
                  </a:lnTo>
                  <a:lnTo>
                    <a:pt x="308995" y="53516"/>
                  </a:lnTo>
                  <a:lnTo>
                    <a:pt x="337198" y="71606"/>
                  </a:lnTo>
                  <a:lnTo>
                    <a:pt x="360972" y="81206"/>
                  </a:lnTo>
                  <a:lnTo>
                    <a:pt x="364285" y="92068"/>
                  </a:lnTo>
                  <a:lnTo>
                    <a:pt x="341560" y="129675"/>
                  </a:lnTo>
                  <a:lnTo>
                    <a:pt x="364837" y="136442"/>
                  </a:lnTo>
                  <a:lnTo>
                    <a:pt x="390760" y="140240"/>
                  </a:lnTo>
                  <a:lnTo>
                    <a:pt x="409015" y="136241"/>
                  </a:lnTo>
                  <a:lnTo>
                    <a:pt x="429953" y="117223"/>
                  </a:lnTo>
                  <a:lnTo>
                    <a:pt x="433727" y="95410"/>
                  </a:lnTo>
                  <a:lnTo>
                    <a:pt x="445158" y="90688"/>
                  </a:lnTo>
                  <a:lnTo>
                    <a:pt x="456739" y="104928"/>
                  </a:lnTo>
                  <a:lnTo>
                    <a:pt x="456268" y="124703"/>
                  </a:lnTo>
                  <a:lnTo>
                    <a:pt x="436833" y="138405"/>
                  </a:lnTo>
                  <a:lnTo>
                    <a:pt x="421331" y="148551"/>
                  </a:lnTo>
                  <a:lnTo>
                    <a:pt x="395280" y="172842"/>
                  </a:lnTo>
                  <a:lnTo>
                    <a:pt x="364482" y="207196"/>
                  </a:lnTo>
                  <a:lnTo>
                    <a:pt x="358716" y="227495"/>
                  </a:lnTo>
                  <a:lnTo>
                    <a:pt x="352541" y="253724"/>
                  </a:lnTo>
                  <a:lnTo>
                    <a:pt x="352767" y="279313"/>
                  </a:lnTo>
                  <a:lnTo>
                    <a:pt x="347759" y="285056"/>
                  </a:lnTo>
                  <a:lnTo>
                    <a:pt x="345971" y="301779"/>
                  </a:lnTo>
                  <a:lnTo>
                    <a:pt x="344393" y="315344"/>
                  </a:lnTo>
                  <a:lnTo>
                    <a:pt x="373699" y="337713"/>
                  </a:lnTo>
                  <a:lnTo>
                    <a:pt x="370548" y="355821"/>
                  </a:lnTo>
                  <a:lnTo>
                    <a:pt x="384972" y="367316"/>
                  </a:lnTo>
                  <a:lnTo>
                    <a:pt x="383799" y="380248"/>
                  </a:lnTo>
                  <a:lnTo>
                    <a:pt x="361619" y="414438"/>
                  </a:lnTo>
                  <a:lnTo>
                    <a:pt x="327395" y="428845"/>
                  </a:lnTo>
                  <a:lnTo>
                    <a:pt x="281100" y="434456"/>
                  </a:lnTo>
                  <a:lnTo>
                    <a:pt x="255744" y="431741"/>
                  </a:lnTo>
                  <a:lnTo>
                    <a:pt x="260596" y="447852"/>
                  </a:lnTo>
                  <a:lnTo>
                    <a:pt x="255869" y="468189"/>
                  </a:lnTo>
                  <a:lnTo>
                    <a:pt x="260129" y="481967"/>
                  </a:lnTo>
                  <a:lnTo>
                    <a:pt x="246283" y="491617"/>
                  </a:lnTo>
                  <a:lnTo>
                    <a:pt x="222631" y="495411"/>
                  </a:lnTo>
                  <a:lnTo>
                    <a:pt x="200435" y="485413"/>
                  </a:lnTo>
                  <a:lnTo>
                    <a:pt x="191526" y="492594"/>
                  </a:lnTo>
                  <a:lnTo>
                    <a:pt x="194745" y="520021"/>
                  </a:lnTo>
                  <a:lnTo>
                    <a:pt x="210330" y="528379"/>
                  </a:lnTo>
                  <a:lnTo>
                    <a:pt x="222967" y="519624"/>
                  </a:lnTo>
                  <a:lnTo>
                    <a:pt x="229843" y="534060"/>
                  </a:lnTo>
                  <a:lnTo>
                    <a:pt x="208589" y="542721"/>
                  </a:lnTo>
                  <a:lnTo>
                    <a:pt x="190054" y="560148"/>
                  </a:lnTo>
                  <a:lnTo>
                    <a:pt x="186660" y="588565"/>
                  </a:lnTo>
                  <a:lnTo>
                    <a:pt x="181203" y="603806"/>
                  </a:lnTo>
                  <a:lnTo>
                    <a:pt x="159397" y="603887"/>
                  </a:lnTo>
                  <a:lnTo>
                    <a:pt x="141304" y="618547"/>
                  </a:lnTo>
                  <a:lnTo>
                    <a:pt x="134685" y="640147"/>
                  </a:lnTo>
                  <a:lnTo>
                    <a:pt x="157386" y="661402"/>
                  </a:lnTo>
                  <a:lnTo>
                    <a:pt x="179454" y="667302"/>
                  </a:lnTo>
                  <a:lnTo>
                    <a:pt x="171512" y="693635"/>
                  </a:lnTo>
                  <a:lnTo>
                    <a:pt x="144249" y="710326"/>
                  </a:lnTo>
                  <a:lnTo>
                    <a:pt x="129248" y="745359"/>
                  </a:lnTo>
                  <a:lnTo>
                    <a:pt x="108181" y="757257"/>
                  </a:lnTo>
                  <a:lnTo>
                    <a:pt x="98722" y="771452"/>
                  </a:lnTo>
                  <a:lnTo>
                    <a:pt x="106177" y="803218"/>
                  </a:lnTo>
                  <a:lnTo>
                    <a:pt x="121540" y="821100"/>
                  </a:lnTo>
                  <a:lnTo>
                    <a:pt x="111810" y="819534"/>
                  </a:lnTo>
                  <a:lnTo>
                    <a:pt x="90416" y="814684"/>
                  </a:lnTo>
                  <a:lnTo>
                    <a:pt x="34638" y="810552"/>
                  </a:lnTo>
                  <a:lnTo>
                    <a:pt x="25068" y="792617"/>
                  </a:lnTo>
                  <a:lnTo>
                    <a:pt x="25517" y="769765"/>
                  </a:lnTo>
                  <a:lnTo>
                    <a:pt x="10149" y="771723"/>
                  </a:lnTo>
                  <a:lnTo>
                    <a:pt x="2017" y="760723"/>
                  </a:lnTo>
                  <a:lnTo>
                    <a:pt x="0" y="728828"/>
                  </a:lnTo>
                  <a:lnTo>
                    <a:pt x="17708" y="715713"/>
                  </a:lnTo>
                  <a:lnTo>
                    <a:pt x="25028" y="696910"/>
                  </a:lnTo>
                  <a:lnTo>
                    <a:pt x="22346" y="682017"/>
                  </a:lnTo>
                  <a:lnTo>
                    <a:pt x="34582" y="657061"/>
                  </a:lnTo>
                  <a:lnTo>
                    <a:pt x="43013" y="618800"/>
                  </a:lnTo>
                  <a:lnTo>
                    <a:pt x="40536" y="602005"/>
                  </a:lnTo>
                  <a:lnTo>
                    <a:pt x="50612" y="596607"/>
                  </a:lnTo>
                  <a:lnTo>
                    <a:pt x="48142" y="585902"/>
                  </a:lnTo>
                  <a:lnTo>
                    <a:pt x="37435" y="580225"/>
                  </a:lnTo>
                  <a:lnTo>
                    <a:pt x="45043" y="568374"/>
                  </a:lnTo>
                  <a:lnTo>
                    <a:pt x="34624" y="557708"/>
                  </a:lnTo>
                  <a:lnTo>
                    <a:pt x="29235" y="525485"/>
                  </a:lnTo>
                  <a:lnTo>
                    <a:pt x="38516" y="519837"/>
                  </a:lnTo>
                  <a:lnTo>
                    <a:pt x="34617" y="486226"/>
                  </a:lnTo>
                  <a:lnTo>
                    <a:pt x="40041" y="458271"/>
                  </a:lnTo>
                  <a:lnTo>
                    <a:pt x="46209" y="434121"/>
                  </a:lnTo>
                  <a:lnTo>
                    <a:pt x="60032" y="424346"/>
                  </a:lnTo>
                  <a:lnTo>
                    <a:pt x="53016" y="398208"/>
                  </a:lnTo>
                  <a:lnTo>
                    <a:pt x="52941" y="373796"/>
                  </a:lnTo>
                  <a:lnTo>
                    <a:pt x="70417" y="356551"/>
                  </a:lnTo>
                  <a:lnTo>
                    <a:pt x="69880" y="334614"/>
                  </a:lnTo>
                  <a:lnTo>
                    <a:pt x="83054" y="309155"/>
                  </a:lnTo>
                  <a:lnTo>
                    <a:pt x="83113" y="285332"/>
                  </a:lnTo>
                  <a:lnTo>
                    <a:pt x="77120" y="280619"/>
                  </a:lnTo>
                  <a:lnTo>
                    <a:pt x="66486" y="236367"/>
                  </a:lnTo>
                  <a:lnTo>
                    <a:pt x="80707" y="210235"/>
                  </a:lnTo>
                  <a:lnTo>
                    <a:pt x="78524" y="185788"/>
                  </a:lnTo>
                  <a:lnTo>
                    <a:pt x="86775" y="162977"/>
                  </a:lnTo>
                  <a:lnTo>
                    <a:pt x="101891" y="139561"/>
                  </a:lnTo>
                  <a:lnTo>
                    <a:pt x="118181" y="124104"/>
                  </a:lnTo>
                  <a:lnTo>
                    <a:pt x="111273" y="114378"/>
                  </a:lnTo>
                  <a:lnTo>
                    <a:pt x="116093" y="106415"/>
                  </a:lnTo>
                  <a:lnTo>
                    <a:pt x="115362" y="65405"/>
                  </a:lnTo>
                  <a:lnTo>
                    <a:pt x="140504" y="53333"/>
                  </a:lnTo>
                  <a:lnTo>
                    <a:pt x="148426" y="27998"/>
                  </a:lnTo>
                  <a:lnTo>
                    <a:pt x="145623" y="2191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4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2537617" y="3888436"/>
              <a:ext cx="45703" cy="81965"/>
            </a:xfrm>
            <a:custGeom>
              <a:avLst/>
              <a:gdLst/>
              <a:ahLst/>
              <a:cxnLst/>
              <a:rect l="l" t="t" r="r" b="b"/>
              <a:pathLst>
                <a:path w="45703" h="81965">
                  <a:moveTo>
                    <a:pt x="18215" y="45210"/>
                  </a:moveTo>
                  <a:lnTo>
                    <a:pt x="25160" y="46201"/>
                  </a:lnTo>
                  <a:lnTo>
                    <a:pt x="33239" y="66564"/>
                  </a:lnTo>
                  <a:lnTo>
                    <a:pt x="33362" y="80750"/>
                  </a:lnTo>
                  <a:lnTo>
                    <a:pt x="27699" y="81965"/>
                  </a:lnTo>
                  <a:lnTo>
                    <a:pt x="21835" y="67882"/>
                  </a:lnTo>
                  <a:lnTo>
                    <a:pt x="13192" y="60792"/>
                  </a:lnTo>
                  <a:close/>
                  <a:moveTo>
                    <a:pt x="10849" y="4219"/>
                  </a:moveTo>
                  <a:lnTo>
                    <a:pt x="26083" y="4963"/>
                  </a:lnTo>
                  <a:lnTo>
                    <a:pt x="26776" y="11407"/>
                  </a:lnTo>
                  <a:lnTo>
                    <a:pt x="1615" y="15369"/>
                  </a:lnTo>
                  <a:lnTo>
                    <a:pt x="0" y="6203"/>
                  </a:lnTo>
                  <a:close/>
                  <a:moveTo>
                    <a:pt x="27468" y="0"/>
                  </a:moveTo>
                  <a:lnTo>
                    <a:pt x="45703" y="11160"/>
                  </a:lnTo>
                  <a:lnTo>
                    <a:pt x="41721" y="28733"/>
                  </a:lnTo>
                  <a:lnTo>
                    <a:pt x="37477" y="25570"/>
                  </a:lnTo>
                  <a:lnTo>
                    <a:pt x="37855" y="12646"/>
                  </a:lnTo>
                  <a:lnTo>
                    <a:pt x="27514" y="285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5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2301040" y="4096112"/>
              <a:ext cx="25907" cy="62101"/>
            </a:xfrm>
            <a:custGeom>
              <a:avLst/>
              <a:gdLst/>
              <a:ahLst/>
              <a:cxnLst/>
              <a:rect l="0" t="0" r="0" b="0"/>
              <a:pathLst>
                <a:path w="25907" h="62101">
                  <a:moveTo>
                    <a:pt x="1986" y="16492"/>
                  </a:moveTo>
                  <a:lnTo>
                    <a:pt x="1805" y="12987"/>
                  </a:lnTo>
                  <a:lnTo>
                    <a:pt x="4599" y="11890"/>
                  </a:lnTo>
                  <a:lnTo>
                    <a:pt x="8789" y="14709"/>
                  </a:lnTo>
                  <a:lnTo>
                    <a:pt x="17058" y="314"/>
                  </a:lnTo>
                  <a:lnTo>
                    <a:pt x="21445" y="0"/>
                  </a:lnTo>
                  <a:lnTo>
                    <a:pt x="21531" y="3502"/>
                  </a:lnTo>
                  <a:lnTo>
                    <a:pt x="25906" y="3611"/>
                  </a:lnTo>
                  <a:lnTo>
                    <a:pt x="25521" y="10099"/>
                  </a:lnTo>
                  <a:lnTo>
                    <a:pt x="21784" y="20401"/>
                  </a:lnTo>
                  <a:lnTo>
                    <a:pt x="23804" y="24081"/>
                  </a:lnTo>
                  <a:lnTo>
                    <a:pt x="21385" y="32587"/>
                  </a:lnTo>
                  <a:lnTo>
                    <a:pt x="22842" y="34859"/>
                  </a:lnTo>
                  <a:lnTo>
                    <a:pt x="20167" y="46850"/>
                  </a:lnTo>
                  <a:lnTo>
                    <a:pt x="15633" y="53138"/>
                  </a:lnTo>
                  <a:lnTo>
                    <a:pt x="11464" y="53892"/>
                  </a:lnTo>
                  <a:lnTo>
                    <a:pt x="6890" y="62093"/>
                  </a:lnTo>
                  <a:lnTo>
                    <a:pt x="0" y="62100"/>
                  </a:lnTo>
                  <a:lnTo>
                    <a:pt x="1807" y="3534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6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2754353" y="4754004"/>
              <a:ext cx="279118" cy="311147"/>
            </a:xfrm>
            <a:custGeom>
              <a:avLst/>
              <a:gdLst/>
              <a:ahLst/>
              <a:cxnLst/>
              <a:rect l="0" t="0" r="0" b="0"/>
              <a:pathLst>
                <a:path w="279118" h="311147">
                  <a:moveTo>
                    <a:pt x="155669" y="290812"/>
                  </a:moveTo>
                  <a:lnTo>
                    <a:pt x="129346" y="289811"/>
                  </a:lnTo>
                  <a:lnTo>
                    <a:pt x="120340" y="309327"/>
                  </a:lnTo>
                  <a:lnTo>
                    <a:pt x="106770" y="291803"/>
                  </a:lnTo>
                  <a:lnTo>
                    <a:pt x="76567" y="285906"/>
                  </a:lnTo>
                  <a:lnTo>
                    <a:pt x="57332" y="307816"/>
                  </a:lnTo>
                  <a:lnTo>
                    <a:pt x="40678" y="311146"/>
                  </a:lnTo>
                  <a:lnTo>
                    <a:pt x="31635" y="277734"/>
                  </a:lnTo>
                  <a:lnTo>
                    <a:pt x="19234" y="250695"/>
                  </a:lnTo>
                  <a:lnTo>
                    <a:pt x="26504" y="227471"/>
                  </a:lnTo>
                  <a:lnTo>
                    <a:pt x="14395" y="217336"/>
                  </a:lnTo>
                  <a:lnTo>
                    <a:pt x="11315" y="200101"/>
                  </a:lnTo>
                  <a:lnTo>
                    <a:pt x="0" y="183898"/>
                  </a:lnTo>
                  <a:lnTo>
                    <a:pt x="14561" y="158262"/>
                  </a:lnTo>
                  <a:lnTo>
                    <a:pt x="4632" y="138360"/>
                  </a:lnTo>
                  <a:lnTo>
                    <a:pt x="9928" y="130415"/>
                  </a:lnTo>
                  <a:lnTo>
                    <a:pt x="5792" y="121662"/>
                  </a:lnTo>
                  <a:lnTo>
                    <a:pt x="14809" y="109883"/>
                  </a:lnTo>
                  <a:lnTo>
                    <a:pt x="15262" y="89858"/>
                  </a:lnTo>
                  <a:lnTo>
                    <a:pt x="16397" y="73350"/>
                  </a:lnTo>
                  <a:lnTo>
                    <a:pt x="21360" y="65413"/>
                  </a:lnTo>
                  <a:lnTo>
                    <a:pt x="1402" y="27753"/>
                  </a:lnTo>
                  <a:lnTo>
                    <a:pt x="18565" y="29730"/>
                  </a:lnTo>
                  <a:lnTo>
                    <a:pt x="30450" y="29220"/>
                  </a:lnTo>
                  <a:lnTo>
                    <a:pt x="35599" y="22157"/>
                  </a:lnTo>
                  <a:lnTo>
                    <a:pt x="55782" y="12701"/>
                  </a:lnTo>
                  <a:lnTo>
                    <a:pt x="67944" y="3947"/>
                  </a:lnTo>
                  <a:lnTo>
                    <a:pt x="98148" y="0"/>
                  </a:lnTo>
                  <a:lnTo>
                    <a:pt x="95691" y="17475"/>
                  </a:lnTo>
                  <a:lnTo>
                    <a:pt x="98529" y="26448"/>
                  </a:lnTo>
                  <a:lnTo>
                    <a:pt x="96674" y="42115"/>
                  </a:lnTo>
                  <a:lnTo>
                    <a:pt x="121740" y="63085"/>
                  </a:lnTo>
                  <a:lnTo>
                    <a:pt x="147589" y="66954"/>
                  </a:lnTo>
                  <a:lnTo>
                    <a:pt x="156671" y="75718"/>
                  </a:lnTo>
                  <a:lnTo>
                    <a:pt x="172274" y="80369"/>
                  </a:lnTo>
                  <a:lnTo>
                    <a:pt x="181828" y="87191"/>
                  </a:lnTo>
                  <a:lnTo>
                    <a:pt x="196348" y="86960"/>
                  </a:lnTo>
                  <a:lnTo>
                    <a:pt x="209755" y="93931"/>
                  </a:lnTo>
                  <a:lnTo>
                    <a:pt x="210773" y="107536"/>
                  </a:lnTo>
                  <a:lnTo>
                    <a:pt x="215272" y="114416"/>
                  </a:lnTo>
                  <a:lnTo>
                    <a:pt x="215576" y="124589"/>
                  </a:lnTo>
                  <a:lnTo>
                    <a:pt x="208840" y="124983"/>
                  </a:lnTo>
                  <a:lnTo>
                    <a:pt x="217717" y="152517"/>
                  </a:lnTo>
                  <a:lnTo>
                    <a:pt x="261970" y="153495"/>
                  </a:lnTo>
                  <a:lnTo>
                    <a:pt x="258581" y="167192"/>
                  </a:lnTo>
                  <a:lnTo>
                    <a:pt x="261057" y="176565"/>
                  </a:lnTo>
                  <a:lnTo>
                    <a:pt x="273665" y="183242"/>
                  </a:lnTo>
                  <a:lnTo>
                    <a:pt x="279117" y="198051"/>
                  </a:lnTo>
                  <a:lnTo>
                    <a:pt x="275017" y="216862"/>
                  </a:lnTo>
                  <a:lnTo>
                    <a:pt x="268693" y="227349"/>
                  </a:lnTo>
                  <a:lnTo>
                    <a:pt x="270913" y="241019"/>
                  </a:lnTo>
                  <a:lnTo>
                    <a:pt x="263697" y="245985"/>
                  </a:lnTo>
                  <a:lnTo>
                    <a:pt x="263303" y="238581"/>
                  </a:lnTo>
                  <a:lnTo>
                    <a:pt x="241800" y="226317"/>
                  </a:lnTo>
                  <a:lnTo>
                    <a:pt x="220367" y="225978"/>
                  </a:lnTo>
                  <a:lnTo>
                    <a:pt x="180140" y="232951"/>
                  </a:lnTo>
                  <a:lnTo>
                    <a:pt x="169069" y="254089"/>
                  </a:lnTo>
                  <a:lnTo>
                    <a:pt x="168486" y="267047"/>
                  </a:lnTo>
                  <a:lnTo>
                    <a:pt x="159395" y="29599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7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2652863" y="4406805"/>
              <a:ext cx="906163" cy="931228"/>
            </a:xfrm>
            <a:custGeom>
              <a:avLst/>
              <a:gdLst/>
              <a:ahLst/>
              <a:cxnLst/>
              <a:rect l="0" t="0" r="0" b="0"/>
              <a:pathLst>
                <a:path w="906163" h="931228">
                  <a:moveTo>
                    <a:pt x="377681" y="840301"/>
                  </a:moveTo>
                  <a:lnTo>
                    <a:pt x="408479" y="805947"/>
                  </a:lnTo>
                  <a:lnTo>
                    <a:pt x="434530" y="781656"/>
                  </a:lnTo>
                  <a:lnTo>
                    <a:pt x="450032" y="771510"/>
                  </a:lnTo>
                  <a:lnTo>
                    <a:pt x="469467" y="757808"/>
                  </a:lnTo>
                  <a:lnTo>
                    <a:pt x="469938" y="738033"/>
                  </a:lnTo>
                  <a:lnTo>
                    <a:pt x="458357" y="723793"/>
                  </a:lnTo>
                  <a:lnTo>
                    <a:pt x="446926" y="728515"/>
                  </a:lnTo>
                  <a:lnTo>
                    <a:pt x="451458" y="714307"/>
                  </a:lnTo>
                  <a:lnTo>
                    <a:pt x="454585" y="699790"/>
                  </a:lnTo>
                  <a:lnTo>
                    <a:pt x="454597" y="686333"/>
                  </a:lnTo>
                  <a:lnTo>
                    <a:pt x="446290" y="681900"/>
                  </a:lnTo>
                  <a:lnTo>
                    <a:pt x="437632" y="685850"/>
                  </a:lnTo>
                  <a:lnTo>
                    <a:pt x="429026" y="684766"/>
                  </a:lnTo>
                  <a:lnTo>
                    <a:pt x="426328" y="675369"/>
                  </a:lnTo>
                  <a:lnTo>
                    <a:pt x="424180" y="653064"/>
                  </a:lnTo>
                  <a:lnTo>
                    <a:pt x="419857" y="645815"/>
                  </a:lnTo>
                  <a:lnTo>
                    <a:pt x="404268" y="639254"/>
                  </a:lnTo>
                  <a:lnTo>
                    <a:pt x="394846" y="644001"/>
                  </a:lnTo>
                  <a:lnTo>
                    <a:pt x="370479" y="639349"/>
                  </a:lnTo>
                  <a:lnTo>
                    <a:pt x="372013" y="606559"/>
                  </a:lnTo>
                  <a:lnTo>
                    <a:pt x="365187" y="593184"/>
                  </a:lnTo>
                  <a:lnTo>
                    <a:pt x="372403" y="588218"/>
                  </a:lnTo>
                  <a:lnTo>
                    <a:pt x="370183" y="574548"/>
                  </a:lnTo>
                  <a:lnTo>
                    <a:pt x="376507" y="564061"/>
                  </a:lnTo>
                  <a:lnTo>
                    <a:pt x="380607" y="545250"/>
                  </a:lnTo>
                  <a:lnTo>
                    <a:pt x="375155" y="530441"/>
                  </a:lnTo>
                  <a:lnTo>
                    <a:pt x="362547" y="523764"/>
                  </a:lnTo>
                  <a:lnTo>
                    <a:pt x="360071" y="514391"/>
                  </a:lnTo>
                  <a:lnTo>
                    <a:pt x="363460" y="500694"/>
                  </a:lnTo>
                  <a:lnTo>
                    <a:pt x="319207" y="499716"/>
                  </a:lnTo>
                  <a:lnTo>
                    <a:pt x="310330" y="472182"/>
                  </a:lnTo>
                  <a:lnTo>
                    <a:pt x="317066" y="471788"/>
                  </a:lnTo>
                  <a:lnTo>
                    <a:pt x="316762" y="461615"/>
                  </a:lnTo>
                  <a:lnTo>
                    <a:pt x="312263" y="454735"/>
                  </a:lnTo>
                  <a:lnTo>
                    <a:pt x="311245" y="441130"/>
                  </a:lnTo>
                  <a:lnTo>
                    <a:pt x="297838" y="434159"/>
                  </a:lnTo>
                  <a:lnTo>
                    <a:pt x="283318" y="434390"/>
                  </a:lnTo>
                  <a:lnTo>
                    <a:pt x="273764" y="427568"/>
                  </a:lnTo>
                  <a:lnTo>
                    <a:pt x="258161" y="422917"/>
                  </a:lnTo>
                  <a:lnTo>
                    <a:pt x="249079" y="414153"/>
                  </a:lnTo>
                  <a:lnTo>
                    <a:pt x="223230" y="410284"/>
                  </a:lnTo>
                  <a:lnTo>
                    <a:pt x="198164" y="389314"/>
                  </a:lnTo>
                  <a:lnTo>
                    <a:pt x="200019" y="373647"/>
                  </a:lnTo>
                  <a:lnTo>
                    <a:pt x="197181" y="364674"/>
                  </a:lnTo>
                  <a:lnTo>
                    <a:pt x="199638" y="347199"/>
                  </a:lnTo>
                  <a:lnTo>
                    <a:pt x="169434" y="351146"/>
                  </a:lnTo>
                  <a:lnTo>
                    <a:pt x="157272" y="359900"/>
                  </a:lnTo>
                  <a:lnTo>
                    <a:pt x="137089" y="369356"/>
                  </a:lnTo>
                  <a:lnTo>
                    <a:pt x="131940" y="376419"/>
                  </a:lnTo>
                  <a:lnTo>
                    <a:pt x="120055" y="376929"/>
                  </a:lnTo>
                  <a:lnTo>
                    <a:pt x="102892" y="374952"/>
                  </a:lnTo>
                  <a:lnTo>
                    <a:pt x="89872" y="378975"/>
                  </a:lnTo>
                  <a:lnTo>
                    <a:pt x="79371" y="376293"/>
                  </a:lnTo>
                  <a:lnTo>
                    <a:pt x="80913" y="340867"/>
                  </a:lnTo>
                  <a:lnTo>
                    <a:pt x="61973" y="354598"/>
                  </a:lnTo>
                  <a:lnTo>
                    <a:pt x="41603" y="353995"/>
                  </a:lnTo>
                  <a:lnTo>
                    <a:pt x="32874" y="341567"/>
                  </a:lnTo>
                  <a:lnTo>
                    <a:pt x="17555" y="340217"/>
                  </a:lnTo>
                  <a:lnTo>
                    <a:pt x="22433" y="330223"/>
                  </a:lnTo>
                  <a:lnTo>
                    <a:pt x="9606" y="316075"/>
                  </a:lnTo>
                  <a:lnTo>
                    <a:pt x="0" y="295156"/>
                  </a:lnTo>
                  <a:lnTo>
                    <a:pt x="6090" y="290913"/>
                  </a:lnTo>
                  <a:lnTo>
                    <a:pt x="6065" y="281114"/>
                  </a:lnTo>
                  <a:lnTo>
                    <a:pt x="20018" y="274421"/>
                  </a:lnTo>
                  <a:lnTo>
                    <a:pt x="17717" y="261890"/>
                  </a:lnTo>
                  <a:lnTo>
                    <a:pt x="23607" y="253831"/>
                  </a:lnTo>
                  <a:lnTo>
                    <a:pt x="25283" y="243027"/>
                  </a:lnTo>
                  <a:lnTo>
                    <a:pt x="51678" y="227280"/>
                  </a:lnTo>
                  <a:lnTo>
                    <a:pt x="70596" y="222830"/>
                  </a:lnTo>
                  <a:lnTo>
                    <a:pt x="73691" y="219354"/>
                  </a:lnTo>
                  <a:lnTo>
                    <a:pt x="94491" y="220439"/>
                  </a:lnTo>
                  <a:lnTo>
                    <a:pt x="104868" y="157092"/>
                  </a:lnTo>
                  <a:lnTo>
                    <a:pt x="105413" y="147080"/>
                  </a:lnTo>
                  <a:lnTo>
                    <a:pt x="101799" y="133861"/>
                  </a:lnTo>
                  <a:lnTo>
                    <a:pt x="91559" y="125440"/>
                  </a:lnTo>
                  <a:lnTo>
                    <a:pt x="91677" y="108668"/>
                  </a:lnTo>
                  <a:lnTo>
                    <a:pt x="104676" y="104865"/>
                  </a:lnTo>
                  <a:lnTo>
                    <a:pt x="109292" y="107255"/>
                  </a:lnTo>
                  <a:lnTo>
                    <a:pt x="110072" y="98413"/>
                  </a:lnTo>
                  <a:lnTo>
                    <a:pt x="96547" y="96026"/>
                  </a:lnTo>
                  <a:lnTo>
                    <a:pt x="96261" y="81580"/>
                  </a:lnTo>
                  <a:lnTo>
                    <a:pt x="141235" y="82095"/>
                  </a:lnTo>
                  <a:lnTo>
                    <a:pt x="148870" y="74136"/>
                  </a:lnTo>
                  <a:lnTo>
                    <a:pt x="155283" y="81459"/>
                  </a:lnTo>
                  <a:lnTo>
                    <a:pt x="159783" y="95078"/>
                  </a:lnTo>
                  <a:lnTo>
                    <a:pt x="164139" y="92233"/>
                  </a:lnTo>
                  <a:lnTo>
                    <a:pt x="176847" y="104443"/>
                  </a:lnTo>
                  <a:lnTo>
                    <a:pt x="194794" y="102947"/>
                  </a:lnTo>
                  <a:lnTo>
                    <a:pt x="199262" y="95883"/>
                  </a:lnTo>
                  <a:lnTo>
                    <a:pt x="216428" y="90493"/>
                  </a:lnTo>
                  <a:lnTo>
                    <a:pt x="225932" y="86704"/>
                  </a:lnTo>
                  <a:lnTo>
                    <a:pt x="228614" y="76925"/>
                  </a:lnTo>
                  <a:lnTo>
                    <a:pt x="245102" y="70355"/>
                  </a:lnTo>
                  <a:lnTo>
                    <a:pt x="243854" y="65501"/>
                  </a:lnTo>
                  <a:lnTo>
                    <a:pt x="224300" y="63516"/>
                  </a:lnTo>
                  <a:lnTo>
                    <a:pt x="221095" y="48968"/>
                  </a:lnTo>
                  <a:lnTo>
                    <a:pt x="222026" y="33475"/>
                  </a:lnTo>
                  <a:lnTo>
                    <a:pt x="211695" y="27482"/>
                  </a:lnTo>
                  <a:lnTo>
                    <a:pt x="216021" y="25354"/>
                  </a:lnTo>
                  <a:lnTo>
                    <a:pt x="233109" y="28312"/>
                  </a:lnTo>
                  <a:lnTo>
                    <a:pt x="251464" y="34091"/>
                  </a:lnTo>
                  <a:lnTo>
                    <a:pt x="258127" y="28626"/>
                  </a:lnTo>
                  <a:lnTo>
                    <a:pt x="274726" y="25038"/>
                  </a:lnTo>
                  <a:lnTo>
                    <a:pt x="300545" y="16382"/>
                  </a:lnTo>
                  <a:lnTo>
                    <a:pt x="308986" y="7553"/>
                  </a:lnTo>
                  <a:lnTo>
                    <a:pt x="305930" y="1024"/>
                  </a:lnTo>
                  <a:lnTo>
                    <a:pt x="317930" y="0"/>
                  </a:lnTo>
                  <a:lnTo>
                    <a:pt x="323302" y="5333"/>
                  </a:lnTo>
                  <a:lnTo>
                    <a:pt x="320301" y="15491"/>
                  </a:lnTo>
                  <a:lnTo>
                    <a:pt x="328232" y="18994"/>
                  </a:lnTo>
                  <a:lnTo>
                    <a:pt x="333526" y="29739"/>
                  </a:lnTo>
                  <a:lnTo>
                    <a:pt x="327124" y="37883"/>
                  </a:lnTo>
                  <a:lnTo>
                    <a:pt x="323451" y="57552"/>
                  </a:lnTo>
                  <a:lnTo>
                    <a:pt x="329360" y="69230"/>
                  </a:lnTo>
                  <a:lnTo>
                    <a:pt x="331033" y="79915"/>
                  </a:lnTo>
                  <a:lnTo>
                    <a:pt x="345233" y="90748"/>
                  </a:lnTo>
                  <a:lnTo>
                    <a:pt x="356563" y="91893"/>
                  </a:lnTo>
                  <a:lnTo>
                    <a:pt x="359115" y="87371"/>
                  </a:lnTo>
                  <a:lnTo>
                    <a:pt x="366409" y="86373"/>
                  </a:lnTo>
                  <a:lnTo>
                    <a:pt x="376854" y="82323"/>
                  </a:lnTo>
                  <a:lnTo>
                    <a:pt x="384359" y="76183"/>
                  </a:lnTo>
                  <a:lnTo>
                    <a:pt x="397127" y="78141"/>
                  </a:lnTo>
                  <a:lnTo>
                    <a:pt x="402743" y="77314"/>
                  </a:lnTo>
                  <a:lnTo>
                    <a:pt x="415293" y="79205"/>
                  </a:lnTo>
                  <a:lnTo>
                    <a:pt x="417373" y="74486"/>
                  </a:lnTo>
                  <a:lnTo>
                    <a:pt x="413501" y="69895"/>
                  </a:lnTo>
                  <a:lnTo>
                    <a:pt x="415809" y="63208"/>
                  </a:lnTo>
                  <a:lnTo>
                    <a:pt x="425125" y="65260"/>
                  </a:lnTo>
                  <a:lnTo>
                    <a:pt x="436024" y="62899"/>
                  </a:lnTo>
                  <a:lnTo>
                    <a:pt x="449246" y="67793"/>
                  </a:lnTo>
                  <a:lnTo>
                    <a:pt x="459326" y="72557"/>
                  </a:lnTo>
                  <a:lnTo>
                    <a:pt x="466471" y="66295"/>
                  </a:lnTo>
                  <a:lnTo>
                    <a:pt x="471634" y="67260"/>
                  </a:lnTo>
                  <a:lnTo>
                    <a:pt x="474782" y="73761"/>
                  </a:lnTo>
                  <a:lnTo>
                    <a:pt x="485835" y="72111"/>
                  </a:lnTo>
                  <a:lnTo>
                    <a:pt x="494681" y="63338"/>
                  </a:lnTo>
                  <a:lnTo>
                    <a:pt x="501769" y="46327"/>
                  </a:lnTo>
                  <a:lnTo>
                    <a:pt x="515423" y="25175"/>
                  </a:lnTo>
                  <a:lnTo>
                    <a:pt x="523286" y="24082"/>
                  </a:lnTo>
                  <a:lnTo>
                    <a:pt x="528996" y="36868"/>
                  </a:lnTo>
                  <a:lnTo>
                    <a:pt x="541943" y="77267"/>
                  </a:lnTo>
                  <a:lnTo>
                    <a:pt x="554288" y="81079"/>
                  </a:lnTo>
                  <a:lnTo>
                    <a:pt x="554911" y="97016"/>
                  </a:lnTo>
                  <a:lnTo>
                    <a:pt x="537549" y="116019"/>
                  </a:lnTo>
                  <a:lnTo>
                    <a:pt x="544729" y="122976"/>
                  </a:lnTo>
                  <a:lnTo>
                    <a:pt x="585531" y="126601"/>
                  </a:lnTo>
                  <a:lnTo>
                    <a:pt x="586363" y="149739"/>
                  </a:lnTo>
                  <a:lnTo>
                    <a:pt x="603896" y="134591"/>
                  </a:lnTo>
                  <a:lnTo>
                    <a:pt x="632942" y="142888"/>
                  </a:lnTo>
                  <a:lnTo>
                    <a:pt x="671280" y="156987"/>
                  </a:lnTo>
                  <a:lnTo>
                    <a:pt x="682546" y="170518"/>
                  </a:lnTo>
                  <a:lnTo>
                    <a:pt x="678761" y="183303"/>
                  </a:lnTo>
                  <a:lnTo>
                    <a:pt x="705601" y="176184"/>
                  </a:lnTo>
                  <a:lnTo>
                    <a:pt x="750523" y="188401"/>
                  </a:lnTo>
                  <a:lnTo>
                    <a:pt x="785009" y="187501"/>
                  </a:lnTo>
                  <a:lnTo>
                    <a:pt x="819132" y="206625"/>
                  </a:lnTo>
                  <a:lnTo>
                    <a:pt x="848611" y="232530"/>
                  </a:lnTo>
                  <a:lnTo>
                    <a:pt x="866392" y="239204"/>
                  </a:lnTo>
                  <a:lnTo>
                    <a:pt x="886131" y="240133"/>
                  </a:lnTo>
                  <a:lnTo>
                    <a:pt x="894496" y="247433"/>
                  </a:lnTo>
                  <a:lnTo>
                    <a:pt x="902330" y="276931"/>
                  </a:lnTo>
                  <a:lnTo>
                    <a:pt x="906162" y="290964"/>
                  </a:lnTo>
                  <a:lnTo>
                    <a:pt x="896970" y="329375"/>
                  </a:lnTo>
                  <a:lnTo>
                    <a:pt x="885227" y="344574"/>
                  </a:lnTo>
                  <a:lnTo>
                    <a:pt x="852691" y="377031"/>
                  </a:lnTo>
                  <a:lnTo>
                    <a:pt x="837985" y="403472"/>
                  </a:lnTo>
                  <a:lnTo>
                    <a:pt x="820897" y="423797"/>
                  </a:lnTo>
                  <a:lnTo>
                    <a:pt x="815126" y="424255"/>
                  </a:lnTo>
                  <a:lnTo>
                    <a:pt x="808678" y="441540"/>
                  </a:lnTo>
                  <a:lnTo>
                    <a:pt x="810316" y="485722"/>
                  </a:lnTo>
                  <a:lnTo>
                    <a:pt x="803881" y="522260"/>
                  </a:lnTo>
                  <a:lnTo>
                    <a:pt x="801428" y="537947"/>
                  </a:lnTo>
                  <a:lnTo>
                    <a:pt x="794130" y="547352"/>
                  </a:lnTo>
                  <a:lnTo>
                    <a:pt x="790037" y="579320"/>
                  </a:lnTo>
                  <a:lnTo>
                    <a:pt x="766633" y="610699"/>
                  </a:lnTo>
                  <a:lnTo>
                    <a:pt x="762709" y="635647"/>
                  </a:lnTo>
                  <a:lnTo>
                    <a:pt x="744026" y="646148"/>
                  </a:lnTo>
                  <a:lnTo>
                    <a:pt x="738621" y="660707"/>
                  </a:lnTo>
                  <a:lnTo>
                    <a:pt x="713544" y="660649"/>
                  </a:lnTo>
                  <a:lnTo>
                    <a:pt x="677233" y="670004"/>
                  </a:lnTo>
                  <a:lnTo>
                    <a:pt x="660975" y="680856"/>
                  </a:lnTo>
                  <a:lnTo>
                    <a:pt x="635123" y="687994"/>
                  </a:lnTo>
                  <a:lnTo>
                    <a:pt x="607958" y="707503"/>
                  </a:lnTo>
                  <a:lnTo>
                    <a:pt x="588419" y="731914"/>
                  </a:lnTo>
                  <a:lnTo>
                    <a:pt x="585059" y="750375"/>
                  </a:lnTo>
                  <a:lnTo>
                    <a:pt x="588897" y="764077"/>
                  </a:lnTo>
                  <a:lnTo>
                    <a:pt x="584585" y="789253"/>
                  </a:lnTo>
                  <a:lnTo>
                    <a:pt x="579347" y="801467"/>
                  </a:lnTo>
                  <a:lnTo>
                    <a:pt x="563215" y="815284"/>
                  </a:lnTo>
                  <a:lnTo>
                    <a:pt x="537604" y="859784"/>
                  </a:lnTo>
                  <a:lnTo>
                    <a:pt x="517306" y="880004"/>
                  </a:lnTo>
                  <a:lnTo>
                    <a:pt x="501613" y="891975"/>
                  </a:lnTo>
                  <a:lnTo>
                    <a:pt x="491087" y="916442"/>
                  </a:lnTo>
                  <a:lnTo>
                    <a:pt x="475817" y="931227"/>
                  </a:lnTo>
                  <a:lnTo>
                    <a:pt x="469425" y="916582"/>
                  </a:lnTo>
                  <a:lnTo>
                    <a:pt x="479604" y="904361"/>
                  </a:lnTo>
                  <a:lnTo>
                    <a:pt x="466254" y="886899"/>
                  </a:lnTo>
                  <a:lnTo>
                    <a:pt x="448145" y="872774"/>
                  </a:lnTo>
                  <a:lnTo>
                    <a:pt x="424392" y="856466"/>
                  </a:lnTo>
                  <a:lnTo>
                    <a:pt x="415811" y="857207"/>
                  </a:lnTo>
                  <a:lnTo>
                    <a:pt x="392664" y="83760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8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1106080" y="1925853"/>
              <a:ext cx="2039347" cy="1580755"/>
            </a:xfrm>
            <a:custGeom>
              <a:avLst/>
              <a:gdLst/>
              <a:ahLst/>
              <a:cxnLst/>
              <a:rect l="l" t="t" r="r" b="b"/>
              <a:pathLst>
                <a:path w="2039347" h="1580755">
                  <a:moveTo>
                    <a:pt x="1776972" y="1428715"/>
                  </a:moveTo>
                  <a:lnTo>
                    <a:pt x="1785059" y="1442843"/>
                  </a:lnTo>
                  <a:lnTo>
                    <a:pt x="1801799" y="1446730"/>
                  </a:lnTo>
                  <a:lnTo>
                    <a:pt x="1823202" y="1445940"/>
                  </a:lnTo>
                  <a:lnTo>
                    <a:pt x="1811849" y="1457781"/>
                  </a:lnTo>
                  <a:lnTo>
                    <a:pt x="1803299" y="1459661"/>
                  </a:lnTo>
                  <a:lnTo>
                    <a:pt x="1774019" y="1447402"/>
                  </a:lnTo>
                  <a:lnTo>
                    <a:pt x="1768253" y="1437693"/>
                  </a:lnTo>
                  <a:close/>
                  <a:moveTo>
                    <a:pt x="1773317" y="1342184"/>
                  </a:moveTo>
                  <a:lnTo>
                    <a:pt x="1803669" y="1349726"/>
                  </a:lnTo>
                  <a:lnTo>
                    <a:pt x="1827276" y="1362244"/>
                  </a:lnTo>
                  <a:lnTo>
                    <a:pt x="1827952" y="1367722"/>
                  </a:lnTo>
                  <a:lnTo>
                    <a:pt x="1816713" y="1368255"/>
                  </a:lnTo>
                  <a:lnTo>
                    <a:pt x="1786796" y="1358890"/>
                  </a:lnTo>
                  <a:lnTo>
                    <a:pt x="1765333" y="1344717"/>
                  </a:lnTo>
                  <a:close/>
                  <a:moveTo>
                    <a:pt x="291751" y="1317567"/>
                  </a:moveTo>
                  <a:lnTo>
                    <a:pt x="315984" y="1324190"/>
                  </a:lnTo>
                  <a:lnTo>
                    <a:pt x="330147" y="1328786"/>
                  </a:lnTo>
                  <a:lnTo>
                    <a:pt x="351844" y="1331990"/>
                  </a:lnTo>
                  <a:lnTo>
                    <a:pt x="359693" y="1342401"/>
                  </a:lnTo>
                  <a:lnTo>
                    <a:pt x="371101" y="1356657"/>
                  </a:lnTo>
                  <a:lnTo>
                    <a:pt x="394143" y="1368991"/>
                  </a:lnTo>
                  <a:lnTo>
                    <a:pt x="403665" y="1385407"/>
                  </a:lnTo>
                  <a:lnTo>
                    <a:pt x="392057" y="1389526"/>
                  </a:lnTo>
                  <a:lnTo>
                    <a:pt x="354152" y="1376060"/>
                  </a:lnTo>
                  <a:lnTo>
                    <a:pt x="347228" y="1365486"/>
                  </a:lnTo>
                  <a:lnTo>
                    <a:pt x="326569" y="1355018"/>
                  </a:lnTo>
                  <a:lnTo>
                    <a:pt x="322414" y="1346463"/>
                  </a:lnTo>
                  <a:lnTo>
                    <a:pt x="298654" y="1341046"/>
                  </a:lnTo>
                  <a:lnTo>
                    <a:pt x="289762" y="1324597"/>
                  </a:lnTo>
                  <a:close/>
                  <a:moveTo>
                    <a:pt x="1964955" y="1291235"/>
                  </a:moveTo>
                  <a:lnTo>
                    <a:pt x="1975665" y="1292581"/>
                  </a:lnTo>
                  <a:lnTo>
                    <a:pt x="1971205" y="1300896"/>
                  </a:lnTo>
                  <a:lnTo>
                    <a:pt x="1958883" y="1320109"/>
                  </a:lnTo>
                  <a:lnTo>
                    <a:pt x="1943606" y="1346544"/>
                  </a:lnTo>
                  <a:lnTo>
                    <a:pt x="1958673" y="1336367"/>
                  </a:lnTo>
                  <a:lnTo>
                    <a:pt x="1974176" y="1342828"/>
                  </a:lnTo>
                  <a:lnTo>
                    <a:pt x="1966076" y="1353305"/>
                  </a:lnTo>
                  <a:lnTo>
                    <a:pt x="1986556" y="1361513"/>
                  </a:lnTo>
                  <a:lnTo>
                    <a:pt x="1997206" y="1354218"/>
                  </a:lnTo>
                  <a:lnTo>
                    <a:pt x="2020225" y="1363421"/>
                  </a:lnTo>
                  <a:lnTo>
                    <a:pt x="2013081" y="1385207"/>
                  </a:lnTo>
                  <a:lnTo>
                    <a:pt x="2029236" y="1380135"/>
                  </a:lnTo>
                  <a:lnTo>
                    <a:pt x="2032179" y="1395838"/>
                  </a:lnTo>
                  <a:lnTo>
                    <a:pt x="2039347" y="1414116"/>
                  </a:lnTo>
                  <a:lnTo>
                    <a:pt x="2029628" y="1439783"/>
                  </a:lnTo>
                  <a:lnTo>
                    <a:pt x="2019188" y="1440862"/>
                  </a:lnTo>
                  <a:lnTo>
                    <a:pt x="2004012" y="1435379"/>
                  </a:lnTo>
                  <a:lnTo>
                    <a:pt x="2009022" y="1411488"/>
                  </a:lnTo>
                  <a:lnTo>
                    <a:pt x="2002591" y="1407758"/>
                  </a:lnTo>
                  <a:lnTo>
                    <a:pt x="1975808" y="1433113"/>
                  </a:lnTo>
                  <a:lnTo>
                    <a:pt x="1962035" y="1432102"/>
                  </a:lnTo>
                  <a:lnTo>
                    <a:pt x="1978337" y="1418391"/>
                  </a:lnTo>
                  <a:lnTo>
                    <a:pt x="1956188" y="1411272"/>
                  </a:lnTo>
                  <a:lnTo>
                    <a:pt x="1931387" y="1413024"/>
                  </a:lnTo>
                  <a:lnTo>
                    <a:pt x="1886588" y="1412129"/>
                  </a:lnTo>
                  <a:lnTo>
                    <a:pt x="1883045" y="1403431"/>
                  </a:lnTo>
                  <a:lnTo>
                    <a:pt x="1897424" y="1393053"/>
                  </a:lnTo>
                  <a:lnTo>
                    <a:pt x="1887382" y="1385017"/>
                  </a:lnTo>
                  <a:lnTo>
                    <a:pt x="1906767" y="1367110"/>
                  </a:lnTo>
                  <a:lnTo>
                    <a:pt x="1930614" y="1319159"/>
                  </a:lnTo>
                  <a:lnTo>
                    <a:pt x="1944927" y="1301803"/>
                  </a:lnTo>
                  <a:close/>
                  <a:moveTo>
                    <a:pt x="180455" y="1211995"/>
                  </a:moveTo>
                  <a:lnTo>
                    <a:pt x="191304" y="1216116"/>
                  </a:lnTo>
                  <a:lnTo>
                    <a:pt x="213464" y="1213580"/>
                  </a:lnTo>
                  <a:lnTo>
                    <a:pt x="206551" y="1249324"/>
                  </a:lnTo>
                  <a:lnTo>
                    <a:pt x="226643" y="1274329"/>
                  </a:lnTo>
                  <a:lnTo>
                    <a:pt x="217438" y="1274269"/>
                  </a:lnTo>
                  <a:lnTo>
                    <a:pt x="203528" y="1260079"/>
                  </a:lnTo>
                  <a:lnTo>
                    <a:pt x="194998" y="1245715"/>
                  </a:lnTo>
                  <a:lnTo>
                    <a:pt x="183350" y="1235947"/>
                  </a:lnTo>
                  <a:lnTo>
                    <a:pt x="179078" y="1222094"/>
                  </a:lnTo>
                  <a:close/>
                  <a:moveTo>
                    <a:pt x="1409622" y="935386"/>
                  </a:moveTo>
                  <a:lnTo>
                    <a:pt x="1419072" y="936170"/>
                  </a:lnTo>
                  <a:lnTo>
                    <a:pt x="1424939" y="943504"/>
                  </a:lnTo>
                  <a:lnTo>
                    <a:pt x="1415898" y="962191"/>
                  </a:lnTo>
                  <a:lnTo>
                    <a:pt x="1405694" y="959179"/>
                  </a:lnTo>
                  <a:lnTo>
                    <a:pt x="1399633" y="948575"/>
                  </a:lnTo>
                  <a:lnTo>
                    <a:pt x="1400712" y="946113"/>
                  </a:lnTo>
                  <a:close/>
                  <a:moveTo>
                    <a:pt x="1332963" y="916360"/>
                  </a:moveTo>
                  <a:lnTo>
                    <a:pt x="1364666" y="916704"/>
                  </a:lnTo>
                  <a:lnTo>
                    <a:pt x="1364176" y="923698"/>
                  </a:lnTo>
                  <a:lnTo>
                    <a:pt x="1337161" y="943484"/>
                  </a:lnTo>
                  <a:lnTo>
                    <a:pt x="1320864" y="942660"/>
                  </a:lnTo>
                  <a:lnTo>
                    <a:pt x="1315808" y="932976"/>
                  </a:lnTo>
                  <a:close/>
                  <a:moveTo>
                    <a:pt x="1272177" y="811682"/>
                  </a:moveTo>
                  <a:lnTo>
                    <a:pt x="1288856" y="814776"/>
                  </a:lnTo>
                  <a:lnTo>
                    <a:pt x="1293138" y="831394"/>
                  </a:lnTo>
                  <a:lnTo>
                    <a:pt x="1304951" y="825580"/>
                  </a:lnTo>
                  <a:lnTo>
                    <a:pt x="1318371" y="835452"/>
                  </a:lnTo>
                  <a:lnTo>
                    <a:pt x="1343648" y="848295"/>
                  </a:lnTo>
                  <a:lnTo>
                    <a:pt x="1370090" y="859895"/>
                  </a:lnTo>
                  <a:lnTo>
                    <a:pt x="1372135" y="877479"/>
                  </a:lnTo>
                  <a:lnTo>
                    <a:pt x="1389125" y="874610"/>
                  </a:lnTo>
                  <a:lnTo>
                    <a:pt x="1405604" y="886799"/>
                  </a:lnTo>
                  <a:lnTo>
                    <a:pt x="1385117" y="898307"/>
                  </a:lnTo>
                  <a:lnTo>
                    <a:pt x="1349197" y="889520"/>
                  </a:lnTo>
                  <a:lnTo>
                    <a:pt x="1336233" y="872972"/>
                  </a:lnTo>
                  <a:lnTo>
                    <a:pt x="1313344" y="892520"/>
                  </a:lnTo>
                  <a:lnTo>
                    <a:pt x="1280497" y="911353"/>
                  </a:lnTo>
                  <a:lnTo>
                    <a:pt x="1272572" y="890049"/>
                  </a:lnTo>
                  <a:lnTo>
                    <a:pt x="1241290" y="893561"/>
                  </a:lnTo>
                  <a:lnTo>
                    <a:pt x="1261354" y="875408"/>
                  </a:lnTo>
                  <a:lnTo>
                    <a:pt x="1264306" y="846195"/>
                  </a:lnTo>
                  <a:close/>
                  <a:moveTo>
                    <a:pt x="1502742" y="712505"/>
                  </a:moveTo>
                  <a:lnTo>
                    <a:pt x="1520763" y="723515"/>
                  </a:lnTo>
                  <a:lnTo>
                    <a:pt x="1521020" y="740432"/>
                  </a:lnTo>
                  <a:lnTo>
                    <a:pt x="1518420" y="745844"/>
                  </a:lnTo>
                  <a:lnTo>
                    <a:pt x="1503419" y="757399"/>
                  </a:lnTo>
                  <a:lnTo>
                    <a:pt x="1477544" y="759354"/>
                  </a:lnTo>
                  <a:lnTo>
                    <a:pt x="1471784" y="740194"/>
                  </a:lnTo>
                  <a:lnTo>
                    <a:pt x="1481588" y="718026"/>
                  </a:lnTo>
                  <a:close/>
                  <a:moveTo>
                    <a:pt x="987466" y="637088"/>
                  </a:moveTo>
                  <a:lnTo>
                    <a:pt x="1011954" y="648791"/>
                  </a:lnTo>
                  <a:lnTo>
                    <a:pt x="1025803" y="656186"/>
                  </a:lnTo>
                  <a:lnTo>
                    <a:pt x="1032728" y="663962"/>
                  </a:lnTo>
                  <a:lnTo>
                    <a:pt x="1046802" y="679520"/>
                  </a:lnTo>
                  <a:lnTo>
                    <a:pt x="1032448" y="693683"/>
                  </a:lnTo>
                  <a:lnTo>
                    <a:pt x="1001336" y="681451"/>
                  </a:lnTo>
                  <a:lnTo>
                    <a:pt x="982537" y="685873"/>
                  </a:lnTo>
                  <a:lnTo>
                    <a:pt x="951015" y="667635"/>
                  </a:lnTo>
                  <a:lnTo>
                    <a:pt x="971328" y="654955"/>
                  </a:lnTo>
                  <a:close/>
                  <a:moveTo>
                    <a:pt x="1056933" y="562116"/>
                  </a:moveTo>
                  <a:lnTo>
                    <a:pt x="1087375" y="569001"/>
                  </a:lnTo>
                  <a:lnTo>
                    <a:pt x="1110729" y="587828"/>
                  </a:lnTo>
                  <a:lnTo>
                    <a:pt x="1142088" y="635110"/>
                  </a:lnTo>
                  <a:lnTo>
                    <a:pt x="1121607" y="655368"/>
                  </a:lnTo>
                  <a:lnTo>
                    <a:pt x="1164537" y="663651"/>
                  </a:lnTo>
                  <a:lnTo>
                    <a:pt x="1164435" y="705003"/>
                  </a:lnTo>
                  <a:lnTo>
                    <a:pt x="1195282" y="673388"/>
                  </a:lnTo>
                  <a:lnTo>
                    <a:pt x="1222877" y="699388"/>
                  </a:lnTo>
                  <a:lnTo>
                    <a:pt x="1216002" y="728940"/>
                  </a:lnTo>
                  <a:lnTo>
                    <a:pt x="1238331" y="755453"/>
                  </a:lnTo>
                  <a:lnTo>
                    <a:pt x="1262431" y="727037"/>
                  </a:lnTo>
                  <a:lnTo>
                    <a:pt x="1279269" y="692575"/>
                  </a:lnTo>
                  <a:lnTo>
                    <a:pt x="1280531" y="647882"/>
                  </a:lnTo>
                  <a:lnTo>
                    <a:pt x="1313335" y="651039"/>
                  </a:lnTo>
                  <a:lnTo>
                    <a:pt x="1347456" y="657079"/>
                  </a:lnTo>
                  <a:lnTo>
                    <a:pt x="1378437" y="677316"/>
                  </a:lnTo>
                  <a:lnTo>
                    <a:pt x="1379827" y="697357"/>
                  </a:lnTo>
                  <a:lnTo>
                    <a:pt x="1362650" y="718664"/>
                  </a:lnTo>
                  <a:lnTo>
                    <a:pt x="1378925" y="739837"/>
                  </a:lnTo>
                  <a:lnTo>
                    <a:pt x="1375988" y="758884"/>
                  </a:lnTo>
                  <a:lnTo>
                    <a:pt x="1330791" y="785961"/>
                  </a:lnTo>
                  <a:lnTo>
                    <a:pt x="1298686" y="791886"/>
                  </a:lnTo>
                  <a:lnTo>
                    <a:pt x="1274818" y="780306"/>
                  </a:lnTo>
                  <a:lnTo>
                    <a:pt x="1267936" y="799584"/>
                  </a:lnTo>
                  <a:lnTo>
                    <a:pt x="1245688" y="831566"/>
                  </a:lnTo>
                  <a:lnTo>
                    <a:pt x="1238952" y="847961"/>
                  </a:lnTo>
                  <a:lnTo>
                    <a:pt x="1212183" y="873079"/>
                  </a:lnTo>
                  <a:lnTo>
                    <a:pt x="1179141" y="875522"/>
                  </a:lnTo>
                  <a:lnTo>
                    <a:pt x="1160916" y="891041"/>
                  </a:lnTo>
                  <a:lnTo>
                    <a:pt x="1159391" y="914692"/>
                  </a:lnTo>
                  <a:lnTo>
                    <a:pt x="1132537" y="919215"/>
                  </a:lnTo>
                  <a:lnTo>
                    <a:pt x="1104294" y="948283"/>
                  </a:lnTo>
                  <a:lnTo>
                    <a:pt x="1079260" y="988038"/>
                  </a:lnTo>
                  <a:lnTo>
                    <a:pt x="1070309" y="1015452"/>
                  </a:lnTo>
                  <a:lnTo>
                    <a:pt x="1069032" y="1055228"/>
                  </a:lnTo>
                  <a:lnTo>
                    <a:pt x="1102954" y="1060880"/>
                  </a:lnTo>
                  <a:lnTo>
                    <a:pt x="1113351" y="1092369"/>
                  </a:lnTo>
                  <a:lnTo>
                    <a:pt x="1124144" y="1117565"/>
                  </a:lnTo>
                  <a:lnTo>
                    <a:pt x="1156445" y="1111029"/>
                  </a:lnTo>
                  <a:lnTo>
                    <a:pt x="1199336" y="1125327"/>
                  </a:lnTo>
                  <a:lnTo>
                    <a:pt x="1222413" y="1137807"/>
                  </a:lnTo>
                  <a:lnTo>
                    <a:pt x="1238930" y="1153228"/>
                  </a:lnTo>
                  <a:lnTo>
                    <a:pt x="1267853" y="1162166"/>
                  </a:lnTo>
                  <a:lnTo>
                    <a:pt x="1292306" y="1175778"/>
                  </a:lnTo>
                  <a:lnTo>
                    <a:pt x="1330422" y="1177637"/>
                  </a:lnTo>
                  <a:lnTo>
                    <a:pt x="1355529" y="1180744"/>
                  </a:lnTo>
                  <a:lnTo>
                    <a:pt x="1351758" y="1208429"/>
                  </a:lnTo>
                  <a:lnTo>
                    <a:pt x="1358941" y="1240168"/>
                  </a:lnTo>
                  <a:lnTo>
                    <a:pt x="1375659" y="1275026"/>
                  </a:lnTo>
                  <a:lnTo>
                    <a:pt x="1410003" y="1304220"/>
                  </a:lnTo>
                  <a:lnTo>
                    <a:pt x="1427774" y="1294250"/>
                  </a:lnTo>
                  <a:lnTo>
                    <a:pt x="1440264" y="1262494"/>
                  </a:lnTo>
                  <a:lnTo>
                    <a:pt x="1428208" y="1212900"/>
                  </a:lnTo>
                  <a:lnTo>
                    <a:pt x="1411926" y="1196146"/>
                  </a:lnTo>
                  <a:lnTo>
                    <a:pt x="1448878" y="1181125"/>
                  </a:lnTo>
                  <a:lnTo>
                    <a:pt x="1475034" y="1158483"/>
                  </a:lnTo>
                  <a:lnTo>
                    <a:pt x="1487827" y="1135756"/>
                  </a:lnTo>
                  <a:lnTo>
                    <a:pt x="1485938" y="1113746"/>
                  </a:lnTo>
                  <a:lnTo>
                    <a:pt x="1470263" y="1085467"/>
                  </a:lnTo>
                  <a:lnTo>
                    <a:pt x="1442227" y="1060120"/>
                  </a:lnTo>
                  <a:lnTo>
                    <a:pt x="1469467" y="1024336"/>
                  </a:lnTo>
                  <a:lnTo>
                    <a:pt x="1459404" y="992958"/>
                  </a:lnTo>
                  <a:lnTo>
                    <a:pt x="1451691" y="937749"/>
                  </a:lnTo>
                  <a:lnTo>
                    <a:pt x="1467761" y="929466"/>
                  </a:lnTo>
                  <a:lnTo>
                    <a:pt x="1507335" y="939225"/>
                  </a:lnTo>
                  <a:lnTo>
                    <a:pt x="1531065" y="942703"/>
                  </a:lnTo>
                  <a:lnTo>
                    <a:pt x="1550184" y="933299"/>
                  </a:lnTo>
                  <a:lnTo>
                    <a:pt x="1571682" y="945417"/>
                  </a:lnTo>
                  <a:lnTo>
                    <a:pt x="1600108" y="966002"/>
                  </a:lnTo>
                  <a:lnTo>
                    <a:pt x="1607111" y="979677"/>
                  </a:lnTo>
                  <a:lnTo>
                    <a:pt x="1648273" y="982337"/>
                  </a:lnTo>
                  <a:lnTo>
                    <a:pt x="1647583" y="1011612"/>
                  </a:lnTo>
                  <a:lnTo>
                    <a:pt x="1655256" y="1054939"/>
                  </a:lnTo>
                  <a:lnTo>
                    <a:pt x="1676339" y="1060239"/>
                  </a:lnTo>
                  <a:lnTo>
                    <a:pt x="1693069" y="1080102"/>
                  </a:lnTo>
                  <a:lnTo>
                    <a:pt x="1726492" y="1061382"/>
                  </a:lnTo>
                  <a:lnTo>
                    <a:pt x="1748573" y="1023713"/>
                  </a:lnTo>
                  <a:lnTo>
                    <a:pt x="1763846" y="1007651"/>
                  </a:lnTo>
                  <a:lnTo>
                    <a:pt x="1781822" y="1038403"/>
                  </a:lnTo>
                  <a:lnTo>
                    <a:pt x="1811885" y="1081611"/>
                  </a:lnTo>
                  <a:lnTo>
                    <a:pt x="1837410" y="1121514"/>
                  </a:lnTo>
                  <a:lnTo>
                    <a:pt x="1828128" y="1142131"/>
                  </a:lnTo>
                  <a:lnTo>
                    <a:pt x="1858831" y="1160492"/>
                  </a:lnTo>
                  <a:lnTo>
                    <a:pt x="1879580" y="1178950"/>
                  </a:lnTo>
                  <a:lnTo>
                    <a:pt x="1916386" y="1187256"/>
                  </a:lnTo>
                  <a:lnTo>
                    <a:pt x="1931203" y="1197463"/>
                  </a:lnTo>
                  <a:lnTo>
                    <a:pt x="1940351" y="1224329"/>
                  </a:lnTo>
                  <a:lnTo>
                    <a:pt x="1958327" y="1228520"/>
                  </a:lnTo>
                  <a:lnTo>
                    <a:pt x="1967601" y="1240378"/>
                  </a:lnTo>
                  <a:lnTo>
                    <a:pt x="1969285" y="1275374"/>
                  </a:lnTo>
                  <a:lnTo>
                    <a:pt x="1952532" y="1286973"/>
                  </a:lnTo>
                  <a:lnTo>
                    <a:pt x="1935965" y="1297752"/>
                  </a:lnTo>
                  <a:lnTo>
                    <a:pt x="1897926" y="1308622"/>
                  </a:lnTo>
                  <a:lnTo>
                    <a:pt x="1868882" y="1333569"/>
                  </a:lnTo>
                  <a:lnTo>
                    <a:pt x="1829859" y="1338469"/>
                  </a:lnTo>
                  <a:lnTo>
                    <a:pt x="1780489" y="1332111"/>
                  </a:lnTo>
                  <a:lnTo>
                    <a:pt x="1745846" y="1331893"/>
                  </a:lnTo>
                  <a:lnTo>
                    <a:pt x="1721939" y="1333986"/>
                  </a:lnTo>
                  <a:lnTo>
                    <a:pt x="1702613" y="1355570"/>
                  </a:lnTo>
                  <a:lnTo>
                    <a:pt x="1673186" y="1368816"/>
                  </a:lnTo>
                  <a:lnTo>
                    <a:pt x="1639890" y="1407975"/>
                  </a:lnTo>
                  <a:lnTo>
                    <a:pt x="1613322" y="1434954"/>
                  </a:lnTo>
                  <a:lnTo>
                    <a:pt x="1632928" y="1430170"/>
                  </a:lnTo>
                  <a:lnTo>
                    <a:pt x="1669981" y="1391621"/>
                  </a:lnTo>
                  <a:lnTo>
                    <a:pt x="1718398" y="1366885"/>
                  </a:lnTo>
                  <a:lnTo>
                    <a:pt x="1752934" y="1363910"/>
                  </a:lnTo>
                  <a:lnTo>
                    <a:pt x="1773368" y="1378512"/>
                  </a:lnTo>
                  <a:lnTo>
                    <a:pt x="1751568" y="1398384"/>
                  </a:lnTo>
                  <a:lnTo>
                    <a:pt x="1758883" y="1429969"/>
                  </a:lnTo>
                  <a:lnTo>
                    <a:pt x="1766416" y="1451860"/>
                  </a:lnTo>
                  <a:lnTo>
                    <a:pt x="1796398" y="1466257"/>
                  </a:lnTo>
                  <a:lnTo>
                    <a:pt x="1834544" y="1462093"/>
                  </a:lnTo>
                  <a:lnTo>
                    <a:pt x="1857686" y="1429533"/>
                  </a:lnTo>
                  <a:lnTo>
                    <a:pt x="1859291" y="1450584"/>
                  </a:lnTo>
                  <a:lnTo>
                    <a:pt x="1874196" y="1461038"/>
                  </a:lnTo>
                  <a:lnTo>
                    <a:pt x="1845643" y="1479844"/>
                  </a:lnTo>
                  <a:lnTo>
                    <a:pt x="1794519" y="1496818"/>
                  </a:lnTo>
                  <a:lnTo>
                    <a:pt x="1771624" y="1508301"/>
                  </a:lnTo>
                  <a:lnTo>
                    <a:pt x="1745829" y="1528629"/>
                  </a:lnTo>
                  <a:lnTo>
                    <a:pt x="1728301" y="1526563"/>
                  </a:lnTo>
                  <a:lnTo>
                    <a:pt x="1727417" y="1502642"/>
                  </a:lnTo>
                  <a:lnTo>
                    <a:pt x="1767494" y="1479078"/>
                  </a:lnTo>
                  <a:lnTo>
                    <a:pt x="1730549" y="1480014"/>
                  </a:lnTo>
                  <a:lnTo>
                    <a:pt x="1704895" y="1483495"/>
                  </a:lnTo>
                  <a:lnTo>
                    <a:pt x="1689801" y="1467298"/>
                  </a:lnTo>
                  <a:lnTo>
                    <a:pt x="1689821" y="1427830"/>
                  </a:lnTo>
                  <a:lnTo>
                    <a:pt x="1679573" y="1419406"/>
                  </a:lnTo>
                  <a:lnTo>
                    <a:pt x="1664095" y="1424369"/>
                  </a:lnTo>
                  <a:lnTo>
                    <a:pt x="1656426" y="1416687"/>
                  </a:lnTo>
                  <a:lnTo>
                    <a:pt x="1638820" y="1438692"/>
                  </a:lnTo>
                  <a:lnTo>
                    <a:pt x="1631779" y="1461193"/>
                  </a:lnTo>
                  <a:lnTo>
                    <a:pt x="1623585" y="1474267"/>
                  </a:lnTo>
                  <a:lnTo>
                    <a:pt x="1613778" y="1478700"/>
                  </a:lnTo>
                  <a:lnTo>
                    <a:pt x="1606388" y="1480137"/>
                  </a:lnTo>
                  <a:lnTo>
                    <a:pt x="1604078" y="1487188"/>
                  </a:lnTo>
                  <a:lnTo>
                    <a:pt x="1561542" y="1487212"/>
                  </a:lnTo>
                  <a:lnTo>
                    <a:pt x="1526476" y="1487408"/>
                  </a:lnTo>
                  <a:lnTo>
                    <a:pt x="1516061" y="1492655"/>
                  </a:lnTo>
                  <a:lnTo>
                    <a:pt x="1491667" y="1513089"/>
                  </a:lnTo>
                  <a:lnTo>
                    <a:pt x="1488782" y="1515290"/>
                  </a:lnTo>
                  <a:lnTo>
                    <a:pt x="1481394" y="1526278"/>
                  </a:lnTo>
                  <a:lnTo>
                    <a:pt x="1460208" y="1526271"/>
                  </a:lnTo>
                  <a:lnTo>
                    <a:pt x="1437532" y="1526382"/>
                  </a:lnTo>
                  <a:lnTo>
                    <a:pt x="1427112" y="1530847"/>
                  </a:lnTo>
                  <a:lnTo>
                    <a:pt x="1430844" y="1536359"/>
                  </a:lnTo>
                  <a:lnTo>
                    <a:pt x="1432922" y="1544901"/>
                  </a:lnTo>
                  <a:lnTo>
                    <a:pt x="1432475" y="1547735"/>
                  </a:lnTo>
                  <a:lnTo>
                    <a:pt x="1402281" y="1561599"/>
                  </a:lnTo>
                  <a:lnTo>
                    <a:pt x="1378499" y="1565967"/>
                  </a:lnTo>
                  <a:lnTo>
                    <a:pt x="1351687" y="1580755"/>
                  </a:lnTo>
                  <a:lnTo>
                    <a:pt x="1345898" y="1580755"/>
                  </a:lnTo>
                  <a:lnTo>
                    <a:pt x="1338056" y="1576395"/>
                  </a:lnTo>
                  <a:lnTo>
                    <a:pt x="1335467" y="1572439"/>
                  </a:lnTo>
                  <a:lnTo>
                    <a:pt x="1335974" y="1569547"/>
                  </a:lnTo>
                  <a:lnTo>
                    <a:pt x="1341053" y="1559825"/>
                  </a:lnTo>
                  <a:lnTo>
                    <a:pt x="1351901" y="1544481"/>
                  </a:lnTo>
                  <a:lnTo>
                    <a:pt x="1358650" y="1527902"/>
                  </a:lnTo>
                  <a:lnTo>
                    <a:pt x="1354031" y="1503355"/>
                  </a:lnTo>
                  <a:lnTo>
                    <a:pt x="1349110" y="1477490"/>
                  </a:lnTo>
                  <a:lnTo>
                    <a:pt x="1325060" y="1464017"/>
                  </a:lnTo>
                  <a:lnTo>
                    <a:pt x="1327906" y="1458897"/>
                  </a:lnTo>
                  <a:lnTo>
                    <a:pt x="1324522" y="1455371"/>
                  </a:lnTo>
                  <a:lnTo>
                    <a:pt x="1318183" y="1455371"/>
                  </a:lnTo>
                  <a:lnTo>
                    <a:pt x="1313541" y="1450793"/>
                  </a:lnTo>
                  <a:lnTo>
                    <a:pt x="1312381" y="1443938"/>
                  </a:lnTo>
                  <a:lnTo>
                    <a:pt x="1307890" y="1446935"/>
                  </a:lnTo>
                  <a:lnTo>
                    <a:pt x="1301699" y="1446042"/>
                  </a:lnTo>
                  <a:lnTo>
                    <a:pt x="1303111" y="1443171"/>
                  </a:lnTo>
                  <a:lnTo>
                    <a:pt x="1297675" y="1440317"/>
                  </a:lnTo>
                  <a:lnTo>
                    <a:pt x="1295439" y="1432674"/>
                  </a:lnTo>
                  <a:lnTo>
                    <a:pt x="1277521" y="1423341"/>
                  </a:lnTo>
                  <a:lnTo>
                    <a:pt x="1258832" y="1413595"/>
                  </a:lnTo>
                  <a:lnTo>
                    <a:pt x="1236262" y="1402238"/>
                  </a:lnTo>
                  <a:lnTo>
                    <a:pt x="1214603" y="1391534"/>
                  </a:lnTo>
                  <a:lnTo>
                    <a:pt x="1193949" y="1399888"/>
                  </a:lnTo>
                  <a:lnTo>
                    <a:pt x="1186399" y="1400177"/>
                  </a:lnTo>
                  <a:lnTo>
                    <a:pt x="1158007" y="1392507"/>
                  </a:lnTo>
                  <a:lnTo>
                    <a:pt x="1139310" y="1396345"/>
                  </a:lnTo>
                  <a:lnTo>
                    <a:pt x="1116920" y="1387184"/>
                  </a:lnTo>
                  <a:lnTo>
                    <a:pt x="1093356" y="1382466"/>
                  </a:lnTo>
                  <a:lnTo>
                    <a:pt x="1077238" y="1380642"/>
                  </a:lnTo>
                  <a:lnTo>
                    <a:pt x="1070062" y="1375614"/>
                  </a:lnTo>
                  <a:lnTo>
                    <a:pt x="1065963" y="1359239"/>
                  </a:lnTo>
                  <a:lnTo>
                    <a:pt x="1058149" y="1359382"/>
                  </a:lnTo>
                  <a:lnTo>
                    <a:pt x="1058081" y="1370853"/>
                  </a:lnTo>
                  <a:lnTo>
                    <a:pt x="1010307" y="1370832"/>
                  </a:lnTo>
                  <a:lnTo>
                    <a:pt x="931335" y="1370853"/>
                  </a:lnTo>
                  <a:lnTo>
                    <a:pt x="852894" y="1370857"/>
                  </a:lnTo>
                  <a:lnTo>
                    <a:pt x="783606" y="1370853"/>
                  </a:lnTo>
                  <a:lnTo>
                    <a:pt x="714358" y="1370853"/>
                  </a:lnTo>
                  <a:lnTo>
                    <a:pt x="646264" y="1370853"/>
                  </a:lnTo>
                  <a:lnTo>
                    <a:pt x="575904" y="1370853"/>
                  </a:lnTo>
                  <a:lnTo>
                    <a:pt x="553213" y="1370853"/>
                  </a:lnTo>
                  <a:lnTo>
                    <a:pt x="484685" y="1370853"/>
                  </a:lnTo>
                  <a:lnTo>
                    <a:pt x="419131" y="1370853"/>
                  </a:lnTo>
                  <a:lnTo>
                    <a:pt x="416033" y="1370777"/>
                  </a:lnTo>
                  <a:lnTo>
                    <a:pt x="371344" y="1341360"/>
                  </a:lnTo>
                  <a:lnTo>
                    <a:pt x="354854" y="1328312"/>
                  </a:lnTo>
                  <a:lnTo>
                    <a:pt x="313052" y="1315743"/>
                  </a:lnTo>
                  <a:lnTo>
                    <a:pt x="300191" y="1288661"/>
                  </a:lnTo>
                  <a:lnTo>
                    <a:pt x="303479" y="1269710"/>
                  </a:lnTo>
                  <a:lnTo>
                    <a:pt x="273945" y="1256478"/>
                  </a:lnTo>
                  <a:lnTo>
                    <a:pt x="269896" y="1231226"/>
                  </a:lnTo>
                  <a:lnTo>
                    <a:pt x="241972" y="1208260"/>
                  </a:lnTo>
                  <a:lnTo>
                    <a:pt x="241484" y="1191828"/>
                  </a:lnTo>
                  <a:lnTo>
                    <a:pt x="254320" y="1176345"/>
                  </a:lnTo>
                  <a:lnTo>
                    <a:pt x="253679" y="1155936"/>
                  </a:lnTo>
                  <a:lnTo>
                    <a:pt x="214438" y="1135170"/>
                  </a:lnTo>
                  <a:lnTo>
                    <a:pt x="190833" y="1097467"/>
                  </a:lnTo>
                  <a:lnTo>
                    <a:pt x="176403" y="1073437"/>
                  </a:lnTo>
                  <a:lnTo>
                    <a:pt x="155270" y="1058204"/>
                  </a:lnTo>
                  <a:lnTo>
                    <a:pt x="139715" y="1044280"/>
                  </a:lnTo>
                  <a:lnTo>
                    <a:pt x="127462" y="1026566"/>
                  </a:lnTo>
                  <a:lnTo>
                    <a:pt x="104289" y="1037675"/>
                  </a:lnTo>
                  <a:lnTo>
                    <a:pt x="81835" y="1056715"/>
                  </a:lnTo>
                  <a:lnTo>
                    <a:pt x="61328" y="1034312"/>
                  </a:lnTo>
                  <a:lnTo>
                    <a:pt x="45214" y="1019257"/>
                  </a:lnTo>
                  <a:lnTo>
                    <a:pt x="22732" y="1009687"/>
                  </a:lnTo>
                  <a:lnTo>
                    <a:pt x="0" y="1008663"/>
                  </a:lnTo>
                  <a:lnTo>
                    <a:pt x="122" y="801732"/>
                  </a:lnTo>
                  <a:lnTo>
                    <a:pt x="273" y="654875"/>
                  </a:lnTo>
                  <a:lnTo>
                    <a:pt x="43333" y="664738"/>
                  </a:lnTo>
                  <a:lnTo>
                    <a:pt x="79669" y="684284"/>
                  </a:lnTo>
                  <a:lnTo>
                    <a:pt x="103738" y="687999"/>
                  </a:lnTo>
                  <a:lnTo>
                    <a:pt x="124001" y="671094"/>
                  </a:lnTo>
                  <a:lnTo>
                    <a:pt x="151957" y="658342"/>
                  </a:lnTo>
                  <a:lnTo>
                    <a:pt x="186244" y="663337"/>
                  </a:lnTo>
                  <a:lnTo>
                    <a:pt x="220819" y="645311"/>
                  </a:lnTo>
                  <a:lnTo>
                    <a:pt x="258597" y="635010"/>
                  </a:lnTo>
                  <a:lnTo>
                    <a:pt x="274455" y="652112"/>
                  </a:lnTo>
                  <a:lnTo>
                    <a:pt x="291678" y="642491"/>
                  </a:lnTo>
                  <a:lnTo>
                    <a:pt x="296835" y="622948"/>
                  </a:lnTo>
                  <a:lnTo>
                    <a:pt x="312786" y="627390"/>
                  </a:lnTo>
                  <a:lnTo>
                    <a:pt x="351814" y="664348"/>
                  </a:lnTo>
                  <a:lnTo>
                    <a:pt x="382548" y="636472"/>
                  </a:lnTo>
                  <a:lnTo>
                    <a:pt x="385668" y="667649"/>
                  </a:lnTo>
                  <a:lnTo>
                    <a:pt x="414028" y="660950"/>
                  </a:lnTo>
                  <a:lnTo>
                    <a:pt x="422743" y="648976"/>
                  </a:lnTo>
                  <a:lnTo>
                    <a:pt x="450702" y="651351"/>
                  </a:lnTo>
                  <a:lnTo>
                    <a:pt x="486004" y="668539"/>
                  </a:lnTo>
                  <a:lnTo>
                    <a:pt x="540022" y="683424"/>
                  </a:lnTo>
                  <a:lnTo>
                    <a:pt x="571789" y="690280"/>
                  </a:lnTo>
                  <a:lnTo>
                    <a:pt x="594400" y="687682"/>
                  </a:lnTo>
                  <a:lnTo>
                    <a:pt x="625537" y="708046"/>
                  </a:lnTo>
                  <a:lnTo>
                    <a:pt x="593061" y="727784"/>
                  </a:lnTo>
                  <a:lnTo>
                    <a:pt x="634786" y="736254"/>
                  </a:lnTo>
                  <a:lnTo>
                    <a:pt x="697092" y="731599"/>
                  </a:lnTo>
                  <a:lnTo>
                    <a:pt x="716754" y="724677"/>
                  </a:lnTo>
                  <a:lnTo>
                    <a:pt x="741360" y="748307"/>
                  </a:lnTo>
                  <a:lnTo>
                    <a:pt x="766470" y="728387"/>
                  </a:lnTo>
                  <a:lnTo>
                    <a:pt x="742912" y="711531"/>
                  </a:lnTo>
                  <a:lnTo>
                    <a:pt x="757818" y="697829"/>
                  </a:lnTo>
                  <a:lnTo>
                    <a:pt x="785914" y="695977"/>
                  </a:lnTo>
                  <a:lnTo>
                    <a:pt x="804381" y="691953"/>
                  </a:lnTo>
                  <a:lnTo>
                    <a:pt x="823012" y="701549"/>
                  </a:lnTo>
                  <a:lnTo>
                    <a:pt x="846208" y="723212"/>
                  </a:lnTo>
                  <a:lnTo>
                    <a:pt x="871986" y="720046"/>
                  </a:lnTo>
                  <a:lnTo>
                    <a:pt x="912769" y="737880"/>
                  </a:lnTo>
                  <a:lnTo>
                    <a:pt x="948602" y="731617"/>
                  </a:lnTo>
                  <a:lnTo>
                    <a:pt x="982274" y="732566"/>
                  </a:lnTo>
                  <a:lnTo>
                    <a:pt x="979610" y="707845"/>
                  </a:lnTo>
                  <a:lnTo>
                    <a:pt x="1000133" y="700850"/>
                  </a:lnTo>
                  <a:lnTo>
                    <a:pt x="1035902" y="714411"/>
                  </a:lnTo>
                  <a:lnTo>
                    <a:pt x="1035764" y="751754"/>
                  </a:lnTo>
                  <a:lnTo>
                    <a:pt x="1050455" y="720326"/>
                  </a:lnTo>
                  <a:lnTo>
                    <a:pt x="1069023" y="721393"/>
                  </a:lnTo>
                  <a:lnTo>
                    <a:pt x="1079461" y="681086"/>
                  </a:lnTo>
                  <a:lnTo>
                    <a:pt x="1054733" y="655953"/>
                  </a:lnTo>
                  <a:lnTo>
                    <a:pt x="1027790" y="639313"/>
                  </a:lnTo>
                  <a:lnTo>
                    <a:pt x="1029641" y="593079"/>
                  </a:lnTo>
                  <a:close/>
                  <a:moveTo>
                    <a:pt x="595734" y="501226"/>
                  </a:moveTo>
                  <a:lnTo>
                    <a:pt x="619323" y="509777"/>
                  </a:lnTo>
                  <a:lnTo>
                    <a:pt x="607800" y="530371"/>
                  </a:lnTo>
                  <a:lnTo>
                    <a:pt x="659167" y="517098"/>
                  </a:lnTo>
                  <a:lnTo>
                    <a:pt x="691266" y="539196"/>
                  </a:lnTo>
                  <a:lnTo>
                    <a:pt x="717351" y="516846"/>
                  </a:lnTo>
                  <a:lnTo>
                    <a:pt x="738444" y="531220"/>
                  </a:lnTo>
                  <a:lnTo>
                    <a:pt x="757330" y="573677"/>
                  </a:lnTo>
                  <a:lnTo>
                    <a:pt x="768926" y="555872"/>
                  </a:lnTo>
                  <a:lnTo>
                    <a:pt x="752528" y="511186"/>
                  </a:lnTo>
                  <a:lnTo>
                    <a:pt x="772839" y="504711"/>
                  </a:lnTo>
                  <a:lnTo>
                    <a:pt x="795780" y="511783"/>
                  </a:lnTo>
                  <a:lnTo>
                    <a:pt x="821636" y="529504"/>
                  </a:lnTo>
                  <a:lnTo>
                    <a:pt x="836123" y="571645"/>
                  </a:lnTo>
                  <a:lnTo>
                    <a:pt x="843280" y="601605"/>
                  </a:lnTo>
                  <a:lnTo>
                    <a:pt x="882045" y="622368"/>
                  </a:lnTo>
                  <a:lnTo>
                    <a:pt x="923700" y="642017"/>
                  </a:lnTo>
                  <a:lnTo>
                    <a:pt x="921195" y="660101"/>
                  </a:lnTo>
                  <a:lnTo>
                    <a:pt x="883296" y="663391"/>
                  </a:lnTo>
                  <a:lnTo>
                    <a:pt x="898020" y="679036"/>
                  </a:lnTo>
                  <a:lnTo>
                    <a:pt x="890243" y="693852"/>
                  </a:lnTo>
                  <a:lnTo>
                    <a:pt x="848468" y="687517"/>
                  </a:lnTo>
                  <a:lnTo>
                    <a:pt x="808766" y="676587"/>
                  </a:lnTo>
                  <a:lnTo>
                    <a:pt x="781932" y="679053"/>
                  </a:lnTo>
                  <a:lnTo>
                    <a:pt x="738595" y="692758"/>
                  </a:lnTo>
                  <a:lnTo>
                    <a:pt x="680100" y="698787"/>
                  </a:lnTo>
                  <a:lnTo>
                    <a:pt x="639035" y="702578"/>
                  </a:lnTo>
                  <a:lnTo>
                    <a:pt x="626529" y="683579"/>
                  </a:lnTo>
                  <a:lnTo>
                    <a:pt x="595020" y="672523"/>
                  </a:lnTo>
                  <a:lnTo>
                    <a:pt x="574524" y="677065"/>
                  </a:lnTo>
                  <a:lnTo>
                    <a:pt x="546085" y="644672"/>
                  </a:lnTo>
                  <a:lnTo>
                    <a:pt x="561442" y="640273"/>
                  </a:lnTo>
                  <a:lnTo>
                    <a:pt x="597072" y="633202"/>
                  </a:lnTo>
                  <a:lnTo>
                    <a:pt x="629612" y="635065"/>
                  </a:lnTo>
                  <a:lnTo>
                    <a:pt x="659742" y="627840"/>
                  </a:lnTo>
                  <a:lnTo>
                    <a:pt x="615103" y="618099"/>
                  </a:lnTo>
                  <a:lnTo>
                    <a:pt x="565778" y="621422"/>
                  </a:lnTo>
                  <a:lnTo>
                    <a:pt x="533048" y="620582"/>
                  </a:lnTo>
                  <a:lnTo>
                    <a:pt x="520870" y="605132"/>
                  </a:lnTo>
                  <a:lnTo>
                    <a:pt x="574405" y="588232"/>
                  </a:lnTo>
                  <a:lnTo>
                    <a:pt x="538799" y="588825"/>
                  </a:lnTo>
                  <a:lnTo>
                    <a:pt x="498489" y="577619"/>
                  </a:lnTo>
                  <a:lnTo>
                    <a:pt x="517863" y="545388"/>
                  </a:lnTo>
                  <a:lnTo>
                    <a:pt x="533934" y="528045"/>
                  </a:lnTo>
                  <a:close/>
                  <a:moveTo>
                    <a:pt x="824924" y="486734"/>
                  </a:moveTo>
                  <a:lnTo>
                    <a:pt x="842467" y="496544"/>
                  </a:lnTo>
                  <a:lnTo>
                    <a:pt x="822154" y="525678"/>
                  </a:lnTo>
                  <a:lnTo>
                    <a:pt x="786145" y="494764"/>
                  </a:lnTo>
                  <a:lnTo>
                    <a:pt x="793993" y="488521"/>
                  </a:lnTo>
                  <a:close/>
                  <a:moveTo>
                    <a:pt x="1399843" y="481375"/>
                  </a:moveTo>
                  <a:lnTo>
                    <a:pt x="1452670" y="486201"/>
                  </a:lnTo>
                  <a:lnTo>
                    <a:pt x="1492475" y="510606"/>
                  </a:lnTo>
                  <a:lnTo>
                    <a:pt x="1494520" y="522768"/>
                  </a:lnTo>
                  <a:lnTo>
                    <a:pt x="1469982" y="521488"/>
                  </a:lnTo>
                  <a:lnTo>
                    <a:pt x="1445117" y="520560"/>
                  </a:lnTo>
                  <a:lnTo>
                    <a:pt x="1419851" y="526458"/>
                  </a:lnTo>
                  <a:lnTo>
                    <a:pt x="1413167" y="523798"/>
                  </a:lnTo>
                  <a:lnTo>
                    <a:pt x="1387770" y="500401"/>
                  </a:lnTo>
                  <a:lnTo>
                    <a:pt x="1388744" y="484355"/>
                  </a:lnTo>
                  <a:close/>
                  <a:moveTo>
                    <a:pt x="1273509" y="479397"/>
                  </a:moveTo>
                  <a:lnTo>
                    <a:pt x="1256520" y="508186"/>
                  </a:lnTo>
                  <a:lnTo>
                    <a:pt x="1274705" y="535549"/>
                  </a:lnTo>
                  <a:lnTo>
                    <a:pt x="1296039" y="500086"/>
                  </a:lnTo>
                  <a:lnTo>
                    <a:pt x="1354542" y="481767"/>
                  </a:lnTo>
                  <a:lnTo>
                    <a:pt x="1394141" y="527581"/>
                  </a:lnTo>
                  <a:lnTo>
                    <a:pt x="1390705" y="556027"/>
                  </a:lnTo>
                  <a:lnTo>
                    <a:pt x="1436369" y="543465"/>
                  </a:lnTo>
                  <a:lnTo>
                    <a:pt x="1458206" y="526133"/>
                  </a:lnTo>
                  <a:lnTo>
                    <a:pt x="1509421" y="548170"/>
                  </a:lnTo>
                  <a:lnTo>
                    <a:pt x="1541211" y="568701"/>
                  </a:lnTo>
                  <a:lnTo>
                    <a:pt x="1544200" y="587312"/>
                  </a:lnTo>
                  <a:lnTo>
                    <a:pt x="1587063" y="577690"/>
                  </a:lnTo>
                  <a:lnTo>
                    <a:pt x="1611120" y="604677"/>
                  </a:lnTo>
                  <a:lnTo>
                    <a:pt x="1666840" y="621230"/>
                  </a:lnTo>
                  <a:lnTo>
                    <a:pt x="1686947" y="637981"/>
                  </a:lnTo>
                  <a:lnTo>
                    <a:pt x="1708782" y="676340"/>
                  </a:lnTo>
                  <a:lnTo>
                    <a:pt x="1666400" y="695165"/>
                  </a:lnTo>
                  <a:lnTo>
                    <a:pt x="1720766" y="721261"/>
                  </a:lnTo>
                  <a:lnTo>
                    <a:pt x="1757411" y="729962"/>
                  </a:lnTo>
                  <a:lnTo>
                    <a:pt x="1790589" y="765978"/>
                  </a:lnTo>
                  <a:lnTo>
                    <a:pt x="1826897" y="768554"/>
                  </a:lnTo>
                  <a:lnTo>
                    <a:pt x="1819714" y="795606"/>
                  </a:lnTo>
                  <a:lnTo>
                    <a:pt x="1779198" y="839616"/>
                  </a:lnTo>
                  <a:lnTo>
                    <a:pt x="1750797" y="823532"/>
                  </a:lnTo>
                  <a:lnTo>
                    <a:pt x="1714502" y="786865"/>
                  </a:lnTo>
                  <a:lnTo>
                    <a:pt x="1684638" y="791678"/>
                  </a:lnTo>
                  <a:lnTo>
                    <a:pt x="1681723" y="813543"/>
                  </a:lnTo>
                  <a:lnTo>
                    <a:pt x="1705998" y="835496"/>
                  </a:lnTo>
                  <a:lnTo>
                    <a:pt x="1737334" y="852707"/>
                  </a:lnTo>
                  <a:lnTo>
                    <a:pt x="1746842" y="862582"/>
                  </a:lnTo>
                  <a:lnTo>
                    <a:pt x="1761864" y="898975"/>
                  </a:lnTo>
                  <a:lnTo>
                    <a:pt x="1753914" y="925017"/>
                  </a:lnTo>
                  <a:lnTo>
                    <a:pt x="1724801" y="915238"/>
                  </a:lnTo>
                  <a:lnTo>
                    <a:pt x="1666906" y="886077"/>
                  </a:lnTo>
                  <a:lnTo>
                    <a:pt x="1699534" y="917449"/>
                  </a:lnTo>
                  <a:lnTo>
                    <a:pt x="1723572" y="939165"/>
                  </a:lnTo>
                  <a:lnTo>
                    <a:pt x="1727328" y="951622"/>
                  </a:lnTo>
                  <a:lnTo>
                    <a:pt x="1664733" y="937372"/>
                  </a:lnTo>
                  <a:lnTo>
                    <a:pt x="1615196" y="916482"/>
                  </a:lnTo>
                  <a:lnTo>
                    <a:pt x="1587221" y="898796"/>
                  </a:lnTo>
                  <a:lnTo>
                    <a:pt x="1595279" y="888484"/>
                  </a:lnTo>
                  <a:lnTo>
                    <a:pt x="1560839" y="869571"/>
                  </a:lnTo>
                  <a:lnTo>
                    <a:pt x="1527228" y="851564"/>
                  </a:lnTo>
                  <a:lnTo>
                    <a:pt x="1527595" y="862346"/>
                  </a:lnTo>
                  <a:lnTo>
                    <a:pt x="1460852" y="868256"/>
                  </a:lnTo>
                  <a:lnTo>
                    <a:pt x="1441325" y="855518"/>
                  </a:lnTo>
                  <a:lnTo>
                    <a:pt x="1456529" y="827942"/>
                  </a:lnTo>
                  <a:lnTo>
                    <a:pt x="1499901" y="827271"/>
                  </a:lnTo>
                  <a:lnTo>
                    <a:pt x="1547417" y="822446"/>
                  </a:lnTo>
                  <a:lnTo>
                    <a:pt x="1539705" y="808907"/>
                  </a:lnTo>
                  <a:lnTo>
                    <a:pt x="1547760" y="789842"/>
                  </a:lnTo>
                  <a:lnTo>
                    <a:pt x="1577623" y="752098"/>
                  </a:lnTo>
                  <a:lnTo>
                    <a:pt x="1571278" y="734725"/>
                  </a:lnTo>
                  <a:lnTo>
                    <a:pt x="1562378" y="721171"/>
                  </a:lnTo>
                  <a:lnTo>
                    <a:pt x="1527023" y="701813"/>
                  </a:lnTo>
                  <a:lnTo>
                    <a:pt x="1480262" y="688133"/>
                  </a:lnTo>
                  <a:lnTo>
                    <a:pt x="1495045" y="677895"/>
                  </a:lnTo>
                  <a:lnTo>
                    <a:pt x="1470607" y="652512"/>
                  </a:lnTo>
                  <a:lnTo>
                    <a:pt x="1450265" y="650171"/>
                  </a:lnTo>
                  <a:lnTo>
                    <a:pt x="1432062" y="636121"/>
                  </a:lnTo>
                  <a:lnTo>
                    <a:pt x="1419708" y="648306"/>
                  </a:lnTo>
                  <a:lnTo>
                    <a:pt x="1377859" y="653594"/>
                  </a:lnTo>
                  <a:lnTo>
                    <a:pt x="1293855" y="644398"/>
                  </a:lnTo>
                  <a:lnTo>
                    <a:pt x="1245029" y="632260"/>
                  </a:lnTo>
                  <a:lnTo>
                    <a:pt x="1207595" y="625994"/>
                  </a:lnTo>
                  <a:lnTo>
                    <a:pt x="1188397" y="611314"/>
                  </a:lnTo>
                  <a:lnTo>
                    <a:pt x="1212535" y="592089"/>
                  </a:lnTo>
                  <a:lnTo>
                    <a:pt x="1179747" y="591904"/>
                  </a:lnTo>
                  <a:lnTo>
                    <a:pt x="1172430" y="548542"/>
                  </a:lnTo>
                  <a:lnTo>
                    <a:pt x="1190171" y="509423"/>
                  </a:lnTo>
                  <a:lnTo>
                    <a:pt x="1213908" y="491293"/>
                  </a:lnTo>
                  <a:close/>
                  <a:moveTo>
                    <a:pt x="938112" y="477598"/>
                  </a:moveTo>
                  <a:lnTo>
                    <a:pt x="965639" y="487029"/>
                  </a:lnTo>
                  <a:lnTo>
                    <a:pt x="1006816" y="481362"/>
                  </a:lnTo>
                  <a:lnTo>
                    <a:pt x="1012817" y="494318"/>
                  </a:lnTo>
                  <a:lnTo>
                    <a:pt x="991267" y="515552"/>
                  </a:lnTo>
                  <a:lnTo>
                    <a:pt x="1026205" y="534421"/>
                  </a:lnTo>
                  <a:lnTo>
                    <a:pt x="1022050" y="573287"/>
                  </a:lnTo>
                  <a:lnTo>
                    <a:pt x="984202" y="589773"/>
                  </a:lnTo>
                  <a:lnTo>
                    <a:pt x="961969" y="586227"/>
                  </a:lnTo>
                  <a:lnTo>
                    <a:pt x="945997" y="569938"/>
                  </a:lnTo>
                  <a:lnTo>
                    <a:pt x="888632" y="536601"/>
                  </a:lnTo>
                  <a:lnTo>
                    <a:pt x="889094" y="522609"/>
                  </a:lnTo>
                  <a:lnTo>
                    <a:pt x="936220" y="528048"/>
                  </a:lnTo>
                  <a:lnTo>
                    <a:pt x="910791" y="499210"/>
                  </a:lnTo>
                  <a:close/>
                  <a:moveTo>
                    <a:pt x="1073209" y="464482"/>
                  </a:moveTo>
                  <a:lnTo>
                    <a:pt x="1121305" y="466059"/>
                  </a:lnTo>
                  <a:lnTo>
                    <a:pt x="1165398" y="477021"/>
                  </a:lnTo>
                  <a:lnTo>
                    <a:pt x="1130909" y="516621"/>
                  </a:lnTo>
                  <a:lnTo>
                    <a:pt x="1103386" y="525153"/>
                  </a:lnTo>
                  <a:lnTo>
                    <a:pt x="1078625" y="557636"/>
                  </a:lnTo>
                  <a:lnTo>
                    <a:pt x="1052292" y="556028"/>
                  </a:lnTo>
                  <a:lnTo>
                    <a:pt x="1037891" y="517764"/>
                  </a:lnTo>
                  <a:lnTo>
                    <a:pt x="1038248" y="495768"/>
                  </a:lnTo>
                  <a:lnTo>
                    <a:pt x="1050308" y="476765"/>
                  </a:lnTo>
                  <a:close/>
                  <a:moveTo>
                    <a:pt x="449187" y="450229"/>
                  </a:moveTo>
                  <a:lnTo>
                    <a:pt x="482151" y="459662"/>
                  </a:lnTo>
                  <a:lnTo>
                    <a:pt x="541108" y="462181"/>
                  </a:lnTo>
                  <a:lnTo>
                    <a:pt x="563526" y="475253"/>
                  </a:lnTo>
                  <a:lnTo>
                    <a:pt x="588308" y="494087"/>
                  </a:lnTo>
                  <a:lnTo>
                    <a:pt x="559290" y="505289"/>
                  </a:lnTo>
                  <a:lnTo>
                    <a:pt x="502690" y="536166"/>
                  </a:lnTo>
                  <a:lnTo>
                    <a:pt x="474067" y="566434"/>
                  </a:lnTo>
                  <a:lnTo>
                    <a:pt x="474067" y="585071"/>
                  </a:lnTo>
                  <a:lnTo>
                    <a:pt x="413309" y="605450"/>
                  </a:lnTo>
                  <a:lnTo>
                    <a:pt x="401126" y="586923"/>
                  </a:lnTo>
                  <a:lnTo>
                    <a:pt x="347829" y="564344"/>
                  </a:lnTo>
                  <a:lnTo>
                    <a:pt x="357731" y="546065"/>
                  </a:lnTo>
                  <a:lnTo>
                    <a:pt x="373720" y="514140"/>
                  </a:lnTo>
                  <a:lnTo>
                    <a:pt x="393740" y="484945"/>
                  </a:lnTo>
                  <a:lnTo>
                    <a:pt x="371170" y="457331"/>
                  </a:lnTo>
                  <a:close/>
                  <a:moveTo>
                    <a:pt x="1065196" y="394840"/>
                  </a:moveTo>
                  <a:lnTo>
                    <a:pt x="1085349" y="411219"/>
                  </a:lnTo>
                  <a:lnTo>
                    <a:pt x="1093774" y="425879"/>
                  </a:lnTo>
                  <a:lnTo>
                    <a:pt x="1081213" y="443683"/>
                  </a:lnTo>
                  <a:lnTo>
                    <a:pt x="1047702" y="440274"/>
                  </a:lnTo>
                  <a:lnTo>
                    <a:pt x="1019720" y="428294"/>
                  </a:lnTo>
                  <a:lnTo>
                    <a:pt x="1032008" y="407433"/>
                  </a:lnTo>
                  <a:close/>
                  <a:moveTo>
                    <a:pt x="980963" y="343845"/>
                  </a:moveTo>
                  <a:lnTo>
                    <a:pt x="998608" y="366044"/>
                  </a:lnTo>
                  <a:lnTo>
                    <a:pt x="999327" y="390322"/>
                  </a:lnTo>
                  <a:lnTo>
                    <a:pt x="988811" y="424956"/>
                  </a:lnTo>
                  <a:lnTo>
                    <a:pt x="950754" y="429685"/>
                  </a:lnTo>
                  <a:lnTo>
                    <a:pt x="925942" y="422306"/>
                  </a:lnTo>
                  <a:lnTo>
                    <a:pt x="926420" y="395144"/>
                  </a:lnTo>
                  <a:lnTo>
                    <a:pt x="888584" y="398749"/>
                  </a:lnTo>
                  <a:lnTo>
                    <a:pt x="887120" y="362228"/>
                  </a:lnTo>
                  <a:lnTo>
                    <a:pt x="911952" y="363718"/>
                  </a:lnTo>
                  <a:lnTo>
                    <a:pt x="946720" y="347391"/>
                  </a:lnTo>
                  <a:lnTo>
                    <a:pt x="979186" y="350166"/>
                  </a:lnTo>
                  <a:close/>
                  <a:moveTo>
                    <a:pt x="725181" y="340268"/>
                  </a:moveTo>
                  <a:lnTo>
                    <a:pt x="749015" y="345852"/>
                  </a:lnTo>
                  <a:lnTo>
                    <a:pt x="756798" y="368655"/>
                  </a:lnTo>
                  <a:lnTo>
                    <a:pt x="765846" y="385517"/>
                  </a:lnTo>
                  <a:lnTo>
                    <a:pt x="786401" y="377615"/>
                  </a:lnTo>
                  <a:lnTo>
                    <a:pt x="810590" y="379669"/>
                  </a:lnTo>
                  <a:lnTo>
                    <a:pt x="814653" y="402690"/>
                  </a:lnTo>
                  <a:lnTo>
                    <a:pt x="800607" y="424712"/>
                  </a:lnTo>
                  <a:lnTo>
                    <a:pt x="722437" y="431868"/>
                  </a:lnTo>
                  <a:lnTo>
                    <a:pt x="664198" y="451684"/>
                  </a:lnTo>
                  <a:lnTo>
                    <a:pt x="629095" y="452717"/>
                  </a:lnTo>
                  <a:lnTo>
                    <a:pt x="626151" y="437825"/>
                  </a:lnTo>
                  <a:lnTo>
                    <a:pt x="674097" y="417439"/>
                  </a:lnTo>
                  <a:lnTo>
                    <a:pt x="569810" y="422950"/>
                  </a:lnTo>
                  <a:lnTo>
                    <a:pt x="537535" y="414670"/>
                  </a:lnTo>
                  <a:lnTo>
                    <a:pt x="569029" y="368781"/>
                  </a:lnTo>
                  <a:lnTo>
                    <a:pt x="590753" y="355428"/>
                  </a:lnTo>
                  <a:lnTo>
                    <a:pt x="655715" y="371522"/>
                  </a:lnTo>
                  <a:lnTo>
                    <a:pt x="696718" y="399432"/>
                  </a:lnTo>
                  <a:lnTo>
                    <a:pt x="737046" y="402984"/>
                  </a:lnTo>
                  <a:lnTo>
                    <a:pt x="704034" y="357775"/>
                  </a:lnTo>
                  <a:close/>
                  <a:moveTo>
                    <a:pt x="1021470" y="322456"/>
                  </a:moveTo>
                  <a:lnTo>
                    <a:pt x="1069044" y="325549"/>
                  </a:lnTo>
                  <a:lnTo>
                    <a:pt x="1094670" y="341130"/>
                  </a:lnTo>
                  <a:lnTo>
                    <a:pt x="1140117" y="341023"/>
                  </a:lnTo>
                  <a:lnTo>
                    <a:pt x="1160042" y="356829"/>
                  </a:lnTo>
                  <a:lnTo>
                    <a:pt x="1154783" y="374716"/>
                  </a:lnTo>
                  <a:lnTo>
                    <a:pt x="1181269" y="385410"/>
                  </a:lnTo>
                  <a:lnTo>
                    <a:pt x="1195930" y="396577"/>
                  </a:lnTo>
                  <a:lnTo>
                    <a:pt x="1227064" y="398637"/>
                  </a:lnTo>
                  <a:lnTo>
                    <a:pt x="1260744" y="402554"/>
                  </a:lnTo>
                  <a:lnTo>
                    <a:pt x="1297435" y="392400"/>
                  </a:lnTo>
                  <a:lnTo>
                    <a:pt x="1344436" y="388399"/>
                  </a:lnTo>
                  <a:lnTo>
                    <a:pt x="1381943" y="391706"/>
                  </a:lnTo>
                  <a:lnTo>
                    <a:pt x="1406665" y="409341"/>
                  </a:lnTo>
                  <a:lnTo>
                    <a:pt x="1411826" y="428502"/>
                  </a:lnTo>
                  <a:lnTo>
                    <a:pt x="1397426" y="440711"/>
                  </a:lnTo>
                  <a:lnTo>
                    <a:pt x="1363008" y="450523"/>
                  </a:lnTo>
                  <a:lnTo>
                    <a:pt x="1333461" y="444977"/>
                  </a:lnTo>
                  <a:lnTo>
                    <a:pt x="1267247" y="452000"/>
                  </a:lnTo>
                  <a:lnTo>
                    <a:pt x="1219860" y="452807"/>
                  </a:lnTo>
                  <a:lnTo>
                    <a:pt x="1182596" y="447191"/>
                  </a:lnTo>
                  <a:lnTo>
                    <a:pt x="1121249" y="432431"/>
                  </a:lnTo>
                  <a:lnTo>
                    <a:pt x="1113266" y="407014"/>
                  </a:lnTo>
                  <a:lnTo>
                    <a:pt x="1110459" y="383766"/>
                  </a:lnTo>
                  <a:lnTo>
                    <a:pt x="1087286" y="363056"/>
                  </a:lnTo>
                  <a:lnTo>
                    <a:pt x="1039536" y="357222"/>
                  </a:lnTo>
                  <a:lnTo>
                    <a:pt x="1012785" y="342347"/>
                  </a:lnTo>
                  <a:close/>
                  <a:moveTo>
                    <a:pt x="572432" y="298724"/>
                  </a:moveTo>
                  <a:lnTo>
                    <a:pt x="569265" y="336266"/>
                  </a:lnTo>
                  <a:lnTo>
                    <a:pt x="551485" y="352976"/>
                  </a:lnTo>
                  <a:lnTo>
                    <a:pt x="529918" y="355317"/>
                  </a:lnTo>
                  <a:lnTo>
                    <a:pt x="487009" y="375702"/>
                  </a:lnTo>
                  <a:lnTo>
                    <a:pt x="450061" y="382946"/>
                  </a:lnTo>
                  <a:lnTo>
                    <a:pt x="418786" y="372699"/>
                  </a:lnTo>
                  <a:lnTo>
                    <a:pt x="457966" y="336869"/>
                  </a:lnTo>
                  <a:lnTo>
                    <a:pt x="505369" y="305280"/>
                  </a:lnTo>
                  <a:lnTo>
                    <a:pt x="540773" y="305963"/>
                  </a:lnTo>
                  <a:close/>
                  <a:moveTo>
                    <a:pt x="1028599" y="289355"/>
                  </a:moveTo>
                  <a:lnTo>
                    <a:pt x="1075081" y="290080"/>
                  </a:lnTo>
                  <a:lnTo>
                    <a:pt x="1091283" y="299264"/>
                  </a:lnTo>
                  <a:lnTo>
                    <a:pt x="1088528" y="304897"/>
                  </a:lnTo>
                  <a:lnTo>
                    <a:pt x="1078011" y="306307"/>
                  </a:lnTo>
                  <a:lnTo>
                    <a:pt x="1034753" y="303169"/>
                  </a:lnTo>
                  <a:close/>
                  <a:moveTo>
                    <a:pt x="686325" y="273498"/>
                  </a:moveTo>
                  <a:lnTo>
                    <a:pt x="718872" y="281317"/>
                  </a:lnTo>
                  <a:lnTo>
                    <a:pt x="711197" y="296169"/>
                  </a:lnTo>
                  <a:lnTo>
                    <a:pt x="668165" y="310339"/>
                  </a:lnTo>
                  <a:lnTo>
                    <a:pt x="633931" y="294429"/>
                  </a:lnTo>
                  <a:lnTo>
                    <a:pt x="652621" y="278589"/>
                  </a:lnTo>
                  <a:close/>
                  <a:moveTo>
                    <a:pt x="680888" y="238296"/>
                  </a:moveTo>
                  <a:lnTo>
                    <a:pt x="693268" y="240617"/>
                  </a:lnTo>
                  <a:lnTo>
                    <a:pt x="723288" y="250898"/>
                  </a:lnTo>
                  <a:lnTo>
                    <a:pt x="695169" y="260749"/>
                  </a:lnTo>
                  <a:lnTo>
                    <a:pt x="656834" y="260700"/>
                  </a:lnTo>
                  <a:lnTo>
                    <a:pt x="657208" y="253500"/>
                  </a:lnTo>
                  <a:close/>
                  <a:moveTo>
                    <a:pt x="977916" y="237177"/>
                  </a:moveTo>
                  <a:lnTo>
                    <a:pt x="1007803" y="239214"/>
                  </a:lnTo>
                  <a:lnTo>
                    <a:pt x="1021256" y="242583"/>
                  </a:lnTo>
                  <a:lnTo>
                    <a:pt x="1048843" y="260175"/>
                  </a:lnTo>
                  <a:lnTo>
                    <a:pt x="1042587" y="278295"/>
                  </a:lnTo>
                  <a:lnTo>
                    <a:pt x="1008435" y="288563"/>
                  </a:lnTo>
                  <a:lnTo>
                    <a:pt x="989635" y="277002"/>
                  </a:lnTo>
                  <a:lnTo>
                    <a:pt x="979743" y="258169"/>
                  </a:lnTo>
                  <a:close/>
                  <a:moveTo>
                    <a:pt x="819562" y="215127"/>
                  </a:moveTo>
                  <a:lnTo>
                    <a:pt x="864874" y="222148"/>
                  </a:lnTo>
                  <a:lnTo>
                    <a:pt x="927292" y="240820"/>
                  </a:lnTo>
                  <a:lnTo>
                    <a:pt x="944950" y="264883"/>
                  </a:lnTo>
                  <a:lnTo>
                    <a:pt x="953935" y="285735"/>
                  </a:lnTo>
                  <a:lnTo>
                    <a:pt x="916241" y="280188"/>
                  </a:lnTo>
                  <a:lnTo>
                    <a:pt x="878249" y="263954"/>
                  </a:lnTo>
                  <a:lnTo>
                    <a:pt x="826860" y="262088"/>
                  </a:lnTo>
                  <a:lnTo>
                    <a:pt x="849151" y="247074"/>
                  </a:lnTo>
                  <a:lnTo>
                    <a:pt x="821241" y="234808"/>
                  </a:lnTo>
                  <a:close/>
                  <a:moveTo>
                    <a:pt x="1121540" y="111281"/>
                  </a:moveTo>
                  <a:lnTo>
                    <a:pt x="1151015" y="140220"/>
                  </a:lnTo>
                  <a:lnTo>
                    <a:pt x="1189861" y="151698"/>
                  </a:lnTo>
                  <a:lnTo>
                    <a:pt x="1227717" y="161787"/>
                  </a:lnTo>
                  <a:lnTo>
                    <a:pt x="1245952" y="196531"/>
                  </a:lnTo>
                  <a:lnTo>
                    <a:pt x="1273782" y="213304"/>
                  </a:lnTo>
                  <a:lnTo>
                    <a:pt x="1242084" y="228619"/>
                  </a:lnTo>
                  <a:lnTo>
                    <a:pt x="1199432" y="266768"/>
                  </a:lnTo>
                  <a:lnTo>
                    <a:pt x="1158599" y="270375"/>
                  </a:lnTo>
                  <a:lnTo>
                    <a:pt x="1110764" y="263949"/>
                  </a:lnTo>
                  <a:lnTo>
                    <a:pt x="1085962" y="243337"/>
                  </a:lnTo>
                  <a:lnTo>
                    <a:pt x="1086318" y="224801"/>
                  </a:lnTo>
                  <a:lnTo>
                    <a:pt x="1104565" y="211070"/>
                  </a:lnTo>
                  <a:lnTo>
                    <a:pt x="1062352" y="211464"/>
                  </a:lnTo>
                  <a:lnTo>
                    <a:pt x="1036912" y="194182"/>
                  </a:lnTo>
                  <a:lnTo>
                    <a:pt x="1022288" y="170389"/>
                  </a:lnTo>
                  <a:lnTo>
                    <a:pt x="1038290" y="146722"/>
                  </a:lnTo>
                  <a:lnTo>
                    <a:pt x="1054286" y="130308"/>
                  </a:lnTo>
                  <a:lnTo>
                    <a:pt x="1077946" y="126521"/>
                  </a:lnTo>
                  <a:lnTo>
                    <a:pt x="1067859" y="114062"/>
                  </a:lnTo>
                  <a:close/>
                  <a:moveTo>
                    <a:pt x="1573460" y="0"/>
                  </a:moveTo>
                  <a:lnTo>
                    <a:pt x="1623451" y="3682"/>
                  </a:lnTo>
                  <a:lnTo>
                    <a:pt x="1673443" y="7357"/>
                  </a:lnTo>
                  <a:lnTo>
                    <a:pt x="1735135" y="11882"/>
                  </a:lnTo>
                  <a:lnTo>
                    <a:pt x="1784702" y="19254"/>
                  </a:lnTo>
                  <a:lnTo>
                    <a:pt x="1826943" y="34785"/>
                  </a:lnTo>
                  <a:lnTo>
                    <a:pt x="1825930" y="49933"/>
                  </a:lnTo>
                  <a:lnTo>
                    <a:pt x="1769606" y="74286"/>
                  </a:lnTo>
                  <a:lnTo>
                    <a:pt x="1713759" y="85540"/>
                  </a:lnTo>
                  <a:lnTo>
                    <a:pt x="1692889" y="97902"/>
                  </a:lnTo>
                  <a:lnTo>
                    <a:pt x="1743146" y="97618"/>
                  </a:lnTo>
                  <a:lnTo>
                    <a:pt x="1688678" y="130702"/>
                  </a:lnTo>
                  <a:lnTo>
                    <a:pt x="1651060" y="145945"/>
                  </a:lnTo>
                  <a:lnTo>
                    <a:pt x="1611581" y="189216"/>
                  </a:lnTo>
                  <a:lnTo>
                    <a:pt x="1563967" y="197879"/>
                  </a:lnTo>
                  <a:lnTo>
                    <a:pt x="1549259" y="208478"/>
                  </a:lnTo>
                  <a:lnTo>
                    <a:pt x="1479370" y="214017"/>
                  </a:lnTo>
                  <a:lnTo>
                    <a:pt x="1511190" y="220485"/>
                  </a:lnTo>
                  <a:lnTo>
                    <a:pt x="1495234" y="229656"/>
                  </a:lnTo>
                  <a:lnTo>
                    <a:pt x="1514324" y="254751"/>
                  </a:lnTo>
                  <a:lnTo>
                    <a:pt x="1492393" y="271996"/>
                  </a:lnTo>
                  <a:lnTo>
                    <a:pt x="1456731" y="286114"/>
                  </a:lnTo>
                  <a:lnTo>
                    <a:pt x="1445786" y="305458"/>
                  </a:lnTo>
                  <a:lnTo>
                    <a:pt x="1413544" y="320101"/>
                  </a:lnTo>
                  <a:lnTo>
                    <a:pt x="1416772" y="331112"/>
                  </a:lnTo>
                  <a:lnTo>
                    <a:pt x="1456215" y="329235"/>
                  </a:lnTo>
                  <a:lnTo>
                    <a:pt x="1456717" y="341050"/>
                  </a:lnTo>
                  <a:lnTo>
                    <a:pt x="1395037" y="369775"/>
                  </a:lnTo>
                  <a:lnTo>
                    <a:pt x="1334719" y="356616"/>
                  </a:lnTo>
                  <a:lnTo>
                    <a:pt x="1266915" y="364021"/>
                  </a:lnTo>
                  <a:lnTo>
                    <a:pt x="1232564" y="358245"/>
                  </a:lnTo>
                  <a:lnTo>
                    <a:pt x="1188922" y="355738"/>
                  </a:lnTo>
                  <a:lnTo>
                    <a:pt x="1186027" y="332626"/>
                  </a:lnTo>
                  <a:lnTo>
                    <a:pt x="1228700" y="321630"/>
                  </a:lnTo>
                  <a:lnTo>
                    <a:pt x="1217329" y="286110"/>
                  </a:lnTo>
                  <a:lnTo>
                    <a:pt x="1231410" y="282617"/>
                  </a:lnTo>
                  <a:lnTo>
                    <a:pt x="1293125" y="303976"/>
                  </a:lnTo>
                  <a:lnTo>
                    <a:pt x="1261648" y="272144"/>
                  </a:lnTo>
                  <a:lnTo>
                    <a:pt x="1224210" y="262517"/>
                  </a:lnTo>
                  <a:lnTo>
                    <a:pt x="1242906" y="242946"/>
                  </a:lnTo>
                  <a:lnTo>
                    <a:pt x="1283838" y="230791"/>
                  </a:lnTo>
                  <a:lnTo>
                    <a:pt x="1290387" y="212863"/>
                  </a:lnTo>
                  <a:lnTo>
                    <a:pt x="1257786" y="192551"/>
                  </a:lnTo>
                  <a:lnTo>
                    <a:pt x="1247988" y="165427"/>
                  </a:lnTo>
                  <a:lnTo>
                    <a:pt x="1311081" y="167711"/>
                  </a:lnTo>
                  <a:lnTo>
                    <a:pt x="1329310" y="173442"/>
                  </a:lnTo>
                  <a:lnTo>
                    <a:pt x="1365330" y="154096"/>
                  </a:lnTo>
                  <a:lnTo>
                    <a:pt x="1313354" y="147918"/>
                  </a:lnTo>
                  <a:lnTo>
                    <a:pt x="1232588" y="151327"/>
                  </a:lnTo>
                  <a:lnTo>
                    <a:pt x="1191785" y="133096"/>
                  </a:lnTo>
                  <a:lnTo>
                    <a:pt x="1172549" y="111139"/>
                  </a:lnTo>
                  <a:lnTo>
                    <a:pt x="1145592" y="95055"/>
                  </a:lnTo>
                  <a:lnTo>
                    <a:pt x="1140533" y="76151"/>
                  </a:lnTo>
                  <a:lnTo>
                    <a:pt x="1174858" y="65498"/>
                  </a:lnTo>
                  <a:lnTo>
                    <a:pt x="1201812" y="63676"/>
                  </a:lnTo>
                  <a:lnTo>
                    <a:pt x="1247101" y="54563"/>
                  </a:lnTo>
                  <a:lnTo>
                    <a:pt x="1281038" y="33436"/>
                  </a:lnTo>
                  <a:lnTo>
                    <a:pt x="1309660" y="36414"/>
                  </a:lnTo>
                  <a:lnTo>
                    <a:pt x="1334590" y="52285"/>
                  </a:lnTo>
                  <a:lnTo>
                    <a:pt x="1352132" y="21552"/>
                  </a:lnTo>
                  <a:lnTo>
                    <a:pt x="1382601" y="12345"/>
                  </a:lnTo>
                  <a:lnTo>
                    <a:pt x="1423997" y="5954"/>
                  </a:lnTo>
                  <a:lnTo>
                    <a:pt x="1494553" y="3550"/>
                  </a:lnTo>
                  <a:lnTo>
                    <a:pt x="1506814" y="980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9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2614611" y="4937902"/>
              <a:ext cx="200460" cy="1026393"/>
            </a:xfrm>
            <a:custGeom>
              <a:avLst/>
              <a:gdLst/>
              <a:ahLst/>
              <a:cxnLst/>
              <a:rect l="l" t="t" r="r" b="b"/>
              <a:pathLst>
                <a:path w="200460" h="1026393">
                  <a:moveTo>
                    <a:pt x="145391" y="928332"/>
                  </a:moveTo>
                  <a:lnTo>
                    <a:pt x="161818" y="932003"/>
                  </a:lnTo>
                  <a:lnTo>
                    <a:pt x="161833" y="1002494"/>
                  </a:lnTo>
                  <a:lnTo>
                    <a:pt x="186552" y="1002511"/>
                  </a:lnTo>
                  <a:lnTo>
                    <a:pt x="200460" y="1003369"/>
                  </a:lnTo>
                  <a:lnTo>
                    <a:pt x="192817" y="1016364"/>
                  </a:lnTo>
                  <a:lnTo>
                    <a:pt x="173022" y="1026393"/>
                  </a:lnTo>
                  <a:lnTo>
                    <a:pt x="161680" y="1025364"/>
                  </a:lnTo>
                  <a:lnTo>
                    <a:pt x="148012" y="1022747"/>
                  </a:lnTo>
                  <a:lnTo>
                    <a:pt x="131255" y="1013055"/>
                  </a:lnTo>
                  <a:lnTo>
                    <a:pt x="107073" y="1008406"/>
                  </a:lnTo>
                  <a:lnTo>
                    <a:pt x="78030" y="990533"/>
                  </a:lnTo>
                  <a:lnTo>
                    <a:pt x="54456" y="973458"/>
                  </a:lnTo>
                  <a:lnTo>
                    <a:pt x="22664" y="938269"/>
                  </a:lnTo>
                  <a:lnTo>
                    <a:pt x="41694" y="944826"/>
                  </a:lnTo>
                  <a:lnTo>
                    <a:pt x="74100" y="965808"/>
                  </a:lnTo>
                  <a:lnTo>
                    <a:pt x="104718" y="977158"/>
                  </a:lnTo>
                  <a:lnTo>
                    <a:pt x="116627" y="962669"/>
                  </a:lnTo>
                  <a:lnTo>
                    <a:pt x="124113" y="941194"/>
                  </a:lnTo>
                  <a:close/>
                  <a:moveTo>
                    <a:pt x="139741" y="0"/>
                  </a:moveTo>
                  <a:lnTo>
                    <a:pt x="151056" y="16203"/>
                  </a:lnTo>
                  <a:lnTo>
                    <a:pt x="154136" y="33438"/>
                  </a:lnTo>
                  <a:lnTo>
                    <a:pt x="166245" y="43573"/>
                  </a:lnTo>
                  <a:lnTo>
                    <a:pt x="158975" y="66797"/>
                  </a:lnTo>
                  <a:lnTo>
                    <a:pt x="171376" y="93836"/>
                  </a:lnTo>
                  <a:lnTo>
                    <a:pt x="180419" y="127248"/>
                  </a:lnTo>
                  <a:lnTo>
                    <a:pt x="197073" y="123918"/>
                  </a:lnTo>
                  <a:lnTo>
                    <a:pt x="199876" y="130006"/>
                  </a:lnTo>
                  <a:lnTo>
                    <a:pt x="191954" y="155341"/>
                  </a:lnTo>
                  <a:lnTo>
                    <a:pt x="166812" y="167413"/>
                  </a:lnTo>
                  <a:lnTo>
                    <a:pt x="167543" y="208423"/>
                  </a:lnTo>
                  <a:lnTo>
                    <a:pt x="162723" y="216386"/>
                  </a:lnTo>
                  <a:lnTo>
                    <a:pt x="169631" y="226112"/>
                  </a:lnTo>
                  <a:lnTo>
                    <a:pt x="153341" y="241569"/>
                  </a:lnTo>
                  <a:lnTo>
                    <a:pt x="138225" y="264985"/>
                  </a:lnTo>
                  <a:lnTo>
                    <a:pt x="129974" y="287796"/>
                  </a:lnTo>
                  <a:lnTo>
                    <a:pt x="132157" y="312243"/>
                  </a:lnTo>
                  <a:lnTo>
                    <a:pt x="117936" y="338375"/>
                  </a:lnTo>
                  <a:lnTo>
                    <a:pt x="128570" y="382627"/>
                  </a:lnTo>
                  <a:lnTo>
                    <a:pt x="134563" y="387340"/>
                  </a:lnTo>
                  <a:lnTo>
                    <a:pt x="134504" y="411163"/>
                  </a:lnTo>
                  <a:lnTo>
                    <a:pt x="121330" y="436622"/>
                  </a:lnTo>
                  <a:lnTo>
                    <a:pt x="121867" y="458559"/>
                  </a:lnTo>
                  <a:lnTo>
                    <a:pt x="104391" y="475804"/>
                  </a:lnTo>
                  <a:lnTo>
                    <a:pt x="104466" y="500216"/>
                  </a:lnTo>
                  <a:lnTo>
                    <a:pt x="111482" y="526354"/>
                  </a:lnTo>
                  <a:lnTo>
                    <a:pt x="97659" y="536129"/>
                  </a:lnTo>
                  <a:lnTo>
                    <a:pt x="91491" y="560279"/>
                  </a:lnTo>
                  <a:lnTo>
                    <a:pt x="86067" y="588234"/>
                  </a:lnTo>
                  <a:lnTo>
                    <a:pt x="89966" y="621845"/>
                  </a:lnTo>
                  <a:lnTo>
                    <a:pt x="80685" y="627493"/>
                  </a:lnTo>
                  <a:lnTo>
                    <a:pt x="86074" y="659716"/>
                  </a:lnTo>
                  <a:lnTo>
                    <a:pt x="96493" y="670382"/>
                  </a:lnTo>
                  <a:lnTo>
                    <a:pt x="88885" y="682233"/>
                  </a:lnTo>
                  <a:lnTo>
                    <a:pt x="99592" y="687910"/>
                  </a:lnTo>
                  <a:lnTo>
                    <a:pt x="102062" y="698615"/>
                  </a:lnTo>
                  <a:lnTo>
                    <a:pt x="91986" y="704013"/>
                  </a:lnTo>
                  <a:lnTo>
                    <a:pt x="94463" y="720808"/>
                  </a:lnTo>
                  <a:lnTo>
                    <a:pt x="86032" y="759069"/>
                  </a:lnTo>
                  <a:lnTo>
                    <a:pt x="73796" y="784025"/>
                  </a:lnTo>
                  <a:lnTo>
                    <a:pt x="76478" y="798918"/>
                  </a:lnTo>
                  <a:lnTo>
                    <a:pt x="69158" y="817721"/>
                  </a:lnTo>
                  <a:lnTo>
                    <a:pt x="51450" y="830836"/>
                  </a:lnTo>
                  <a:lnTo>
                    <a:pt x="53467" y="862731"/>
                  </a:lnTo>
                  <a:lnTo>
                    <a:pt x="61599" y="873731"/>
                  </a:lnTo>
                  <a:lnTo>
                    <a:pt x="76967" y="871773"/>
                  </a:lnTo>
                  <a:lnTo>
                    <a:pt x="76518" y="894625"/>
                  </a:lnTo>
                  <a:lnTo>
                    <a:pt x="86088" y="912560"/>
                  </a:lnTo>
                  <a:lnTo>
                    <a:pt x="141866" y="916692"/>
                  </a:lnTo>
                  <a:lnTo>
                    <a:pt x="163260" y="921542"/>
                  </a:lnTo>
                  <a:lnTo>
                    <a:pt x="142722" y="921310"/>
                  </a:lnTo>
                  <a:lnTo>
                    <a:pt x="131608" y="928942"/>
                  </a:lnTo>
                  <a:lnTo>
                    <a:pt x="110780" y="940194"/>
                  </a:lnTo>
                  <a:lnTo>
                    <a:pt x="107058" y="969529"/>
                  </a:lnTo>
                  <a:lnTo>
                    <a:pt x="97284" y="970262"/>
                  </a:lnTo>
                  <a:lnTo>
                    <a:pt x="71243" y="960010"/>
                  </a:lnTo>
                  <a:lnTo>
                    <a:pt x="44818" y="938193"/>
                  </a:lnTo>
                  <a:lnTo>
                    <a:pt x="16103" y="920406"/>
                  </a:lnTo>
                  <a:lnTo>
                    <a:pt x="8872" y="900867"/>
                  </a:lnTo>
                  <a:lnTo>
                    <a:pt x="15413" y="882926"/>
                  </a:lnTo>
                  <a:lnTo>
                    <a:pt x="3800" y="862718"/>
                  </a:lnTo>
                  <a:lnTo>
                    <a:pt x="839" y="811635"/>
                  </a:lnTo>
                  <a:lnTo>
                    <a:pt x="10655" y="783243"/>
                  </a:lnTo>
                  <a:lnTo>
                    <a:pt x="35035" y="760652"/>
                  </a:lnTo>
                  <a:lnTo>
                    <a:pt x="0" y="752175"/>
                  </a:lnTo>
                  <a:lnTo>
                    <a:pt x="21980" y="726647"/>
                  </a:lnTo>
                  <a:lnTo>
                    <a:pt x="29838" y="679287"/>
                  </a:lnTo>
                  <a:lnTo>
                    <a:pt x="55491" y="689256"/>
                  </a:lnTo>
                  <a:lnTo>
                    <a:pt x="67553" y="631064"/>
                  </a:lnTo>
                  <a:lnTo>
                    <a:pt x="52062" y="623680"/>
                  </a:lnTo>
                  <a:lnTo>
                    <a:pt x="44850" y="658515"/>
                  </a:lnTo>
                  <a:lnTo>
                    <a:pt x="30294" y="654564"/>
                  </a:lnTo>
                  <a:lnTo>
                    <a:pt x="37542" y="614740"/>
                  </a:lnTo>
                  <a:lnTo>
                    <a:pt x="45410" y="563924"/>
                  </a:lnTo>
                  <a:lnTo>
                    <a:pt x="56016" y="545383"/>
                  </a:lnTo>
                  <a:lnTo>
                    <a:pt x="49369" y="519101"/>
                  </a:lnTo>
                  <a:lnTo>
                    <a:pt x="47465" y="489019"/>
                  </a:lnTo>
                  <a:lnTo>
                    <a:pt x="57191" y="488155"/>
                  </a:lnTo>
                  <a:lnTo>
                    <a:pt x="71354" y="445511"/>
                  </a:lnTo>
                  <a:lnTo>
                    <a:pt x="87313" y="403778"/>
                  </a:lnTo>
                  <a:lnTo>
                    <a:pt x="97084" y="365330"/>
                  </a:lnTo>
                  <a:lnTo>
                    <a:pt x="91769" y="327065"/>
                  </a:lnTo>
                  <a:lnTo>
                    <a:pt x="98662" y="306154"/>
                  </a:lnTo>
                  <a:lnTo>
                    <a:pt x="95897" y="275067"/>
                  </a:lnTo>
                  <a:lnTo>
                    <a:pt x="109394" y="244537"/>
                  </a:lnTo>
                  <a:lnTo>
                    <a:pt x="113553" y="196597"/>
                  </a:lnTo>
                  <a:lnTo>
                    <a:pt x="120962" y="145662"/>
                  </a:lnTo>
                  <a:lnTo>
                    <a:pt x="128181" y="91395"/>
                  </a:lnTo>
                  <a:lnTo>
                    <a:pt x="126492" y="51997"/>
                  </a:lnTo>
                  <a:lnTo>
                    <a:pt x="121687" y="18299"/>
                  </a:lnTo>
                  <a:lnTo>
                    <a:pt x="133555" y="1221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10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2537364" y="4239430"/>
              <a:ext cx="279639" cy="387815"/>
            </a:xfrm>
            <a:custGeom>
              <a:avLst/>
              <a:gdLst/>
              <a:ahLst/>
              <a:cxnLst/>
              <a:rect l="0" t="0" r="0" b="0"/>
              <a:pathLst>
                <a:path w="279639" h="387815">
                  <a:moveTo>
                    <a:pt x="83507" y="292050"/>
                  </a:moveTo>
                  <a:lnTo>
                    <a:pt x="73622" y="286583"/>
                  </a:lnTo>
                  <a:lnTo>
                    <a:pt x="62292" y="278937"/>
                  </a:lnTo>
                  <a:lnTo>
                    <a:pt x="55735" y="282610"/>
                  </a:lnTo>
                  <a:lnTo>
                    <a:pt x="36147" y="279407"/>
                  </a:lnTo>
                  <a:lnTo>
                    <a:pt x="30523" y="269476"/>
                  </a:lnTo>
                  <a:lnTo>
                    <a:pt x="26219" y="269845"/>
                  </a:lnTo>
                  <a:lnTo>
                    <a:pt x="3132" y="256663"/>
                  </a:lnTo>
                  <a:lnTo>
                    <a:pt x="0" y="249496"/>
                  </a:lnTo>
                  <a:lnTo>
                    <a:pt x="8613" y="247763"/>
                  </a:lnTo>
                  <a:lnTo>
                    <a:pt x="7590" y="236195"/>
                  </a:lnTo>
                  <a:lnTo>
                    <a:pt x="13003" y="227830"/>
                  </a:lnTo>
                  <a:lnTo>
                    <a:pt x="24454" y="226281"/>
                  </a:lnTo>
                  <a:lnTo>
                    <a:pt x="34174" y="211763"/>
                  </a:lnTo>
                  <a:lnTo>
                    <a:pt x="43009" y="199638"/>
                  </a:lnTo>
                  <a:lnTo>
                    <a:pt x="34501" y="194137"/>
                  </a:lnTo>
                  <a:lnTo>
                    <a:pt x="38856" y="180715"/>
                  </a:lnTo>
                  <a:lnTo>
                    <a:pt x="33648" y="159544"/>
                  </a:lnTo>
                  <a:lnTo>
                    <a:pt x="38597" y="153464"/>
                  </a:lnTo>
                  <a:lnTo>
                    <a:pt x="34954" y="133867"/>
                  </a:lnTo>
                  <a:lnTo>
                    <a:pt x="25607" y="121513"/>
                  </a:lnTo>
                  <a:lnTo>
                    <a:pt x="28566" y="110232"/>
                  </a:lnTo>
                  <a:lnTo>
                    <a:pt x="36005" y="111899"/>
                  </a:lnTo>
                  <a:lnTo>
                    <a:pt x="40357" y="104997"/>
                  </a:lnTo>
                  <a:lnTo>
                    <a:pt x="34998" y="91311"/>
                  </a:lnTo>
                  <a:lnTo>
                    <a:pt x="37800" y="87911"/>
                  </a:lnTo>
                  <a:lnTo>
                    <a:pt x="49726" y="88650"/>
                  </a:lnTo>
                  <a:lnTo>
                    <a:pt x="67045" y="72409"/>
                  </a:lnTo>
                  <a:lnTo>
                    <a:pt x="76550" y="69931"/>
                  </a:lnTo>
                  <a:lnTo>
                    <a:pt x="76779" y="62227"/>
                  </a:lnTo>
                  <a:lnTo>
                    <a:pt x="81032" y="42523"/>
                  </a:lnTo>
                  <a:lnTo>
                    <a:pt x="94271" y="31687"/>
                  </a:lnTo>
                  <a:lnTo>
                    <a:pt x="108816" y="31243"/>
                  </a:lnTo>
                  <a:lnTo>
                    <a:pt x="110652" y="26372"/>
                  </a:lnTo>
                  <a:lnTo>
                    <a:pt x="128713" y="28323"/>
                  </a:lnTo>
                  <a:lnTo>
                    <a:pt x="146878" y="16516"/>
                  </a:lnTo>
                  <a:lnTo>
                    <a:pt x="155872" y="11284"/>
                  </a:lnTo>
                  <a:lnTo>
                    <a:pt x="167046" y="0"/>
                  </a:lnTo>
                  <a:lnTo>
                    <a:pt x="175223" y="1436"/>
                  </a:lnTo>
                  <a:lnTo>
                    <a:pt x="181280" y="7598"/>
                  </a:lnTo>
                  <a:lnTo>
                    <a:pt x="176799" y="15479"/>
                  </a:lnTo>
                  <a:lnTo>
                    <a:pt x="161972" y="19400"/>
                  </a:lnTo>
                  <a:lnTo>
                    <a:pt x="156117" y="31088"/>
                  </a:lnTo>
                  <a:lnTo>
                    <a:pt x="147182" y="37785"/>
                  </a:lnTo>
                  <a:lnTo>
                    <a:pt x="140473" y="46458"/>
                  </a:lnTo>
                  <a:lnTo>
                    <a:pt x="137650" y="63094"/>
                  </a:lnTo>
                  <a:lnTo>
                    <a:pt x="131248" y="76711"/>
                  </a:lnTo>
                  <a:lnTo>
                    <a:pt x="143164" y="78269"/>
                  </a:lnTo>
                  <a:lnTo>
                    <a:pt x="146124" y="88963"/>
                  </a:lnTo>
                  <a:lnTo>
                    <a:pt x="151216" y="94078"/>
                  </a:lnTo>
                  <a:lnTo>
                    <a:pt x="153039" y="103433"/>
                  </a:lnTo>
                  <a:lnTo>
                    <a:pt x="150298" y="112028"/>
                  </a:lnTo>
                  <a:lnTo>
                    <a:pt x="151110" y="116872"/>
                  </a:lnTo>
                  <a:lnTo>
                    <a:pt x="156791" y="118806"/>
                  </a:lnTo>
                  <a:lnTo>
                    <a:pt x="162289" y="126898"/>
                  </a:lnTo>
                  <a:lnTo>
                    <a:pt x="191972" y="124668"/>
                  </a:lnTo>
                  <a:lnTo>
                    <a:pt x="205381" y="127623"/>
                  </a:lnTo>
                  <a:lnTo>
                    <a:pt x="221627" y="147569"/>
                  </a:lnTo>
                  <a:lnTo>
                    <a:pt x="230957" y="145091"/>
                  </a:lnTo>
                  <a:lnTo>
                    <a:pt x="247582" y="146332"/>
                  </a:lnTo>
                  <a:lnTo>
                    <a:pt x="260739" y="143689"/>
                  </a:lnTo>
                  <a:lnTo>
                    <a:pt x="268902" y="147671"/>
                  </a:lnTo>
                  <a:lnTo>
                    <a:pt x="264745" y="160144"/>
                  </a:lnTo>
                  <a:lnTo>
                    <a:pt x="259594" y="167916"/>
                  </a:lnTo>
                  <a:lnTo>
                    <a:pt x="257786" y="184509"/>
                  </a:lnTo>
                  <a:lnTo>
                    <a:pt x="262429" y="199873"/>
                  </a:lnTo>
                  <a:lnTo>
                    <a:pt x="268991" y="206740"/>
                  </a:lnTo>
                  <a:lnTo>
                    <a:pt x="269785" y="211914"/>
                  </a:lnTo>
                  <a:lnTo>
                    <a:pt x="258088" y="223415"/>
                  </a:lnTo>
                  <a:lnTo>
                    <a:pt x="266463" y="228506"/>
                  </a:lnTo>
                  <a:lnTo>
                    <a:pt x="272598" y="236581"/>
                  </a:lnTo>
                  <a:lnTo>
                    <a:pt x="279638" y="259608"/>
                  </a:lnTo>
                  <a:lnTo>
                    <a:pt x="275282" y="262453"/>
                  </a:lnTo>
                  <a:lnTo>
                    <a:pt x="270782" y="248834"/>
                  </a:lnTo>
                  <a:lnTo>
                    <a:pt x="264369" y="241511"/>
                  </a:lnTo>
                  <a:lnTo>
                    <a:pt x="256734" y="249470"/>
                  </a:lnTo>
                  <a:lnTo>
                    <a:pt x="211760" y="248955"/>
                  </a:lnTo>
                  <a:lnTo>
                    <a:pt x="212046" y="263401"/>
                  </a:lnTo>
                  <a:lnTo>
                    <a:pt x="225571" y="265788"/>
                  </a:lnTo>
                  <a:lnTo>
                    <a:pt x="224791" y="274630"/>
                  </a:lnTo>
                  <a:lnTo>
                    <a:pt x="220175" y="272240"/>
                  </a:lnTo>
                  <a:lnTo>
                    <a:pt x="207176" y="276043"/>
                  </a:lnTo>
                  <a:lnTo>
                    <a:pt x="207058" y="292815"/>
                  </a:lnTo>
                  <a:lnTo>
                    <a:pt x="217298" y="301236"/>
                  </a:lnTo>
                  <a:lnTo>
                    <a:pt x="220912" y="314455"/>
                  </a:lnTo>
                  <a:lnTo>
                    <a:pt x="220367" y="324467"/>
                  </a:lnTo>
                  <a:lnTo>
                    <a:pt x="209990" y="387814"/>
                  </a:lnTo>
                  <a:lnTo>
                    <a:pt x="198440" y="375524"/>
                  </a:lnTo>
                  <a:lnTo>
                    <a:pt x="191546" y="374976"/>
                  </a:lnTo>
                  <a:lnTo>
                    <a:pt x="206434" y="351460"/>
                  </a:lnTo>
                  <a:lnTo>
                    <a:pt x="188758" y="340644"/>
                  </a:lnTo>
                  <a:lnTo>
                    <a:pt x="174905" y="342628"/>
                  </a:lnTo>
                  <a:lnTo>
                    <a:pt x="166569" y="338633"/>
                  </a:lnTo>
                  <a:lnTo>
                    <a:pt x="153850" y="344740"/>
                  </a:lnTo>
                  <a:lnTo>
                    <a:pt x="136662" y="341847"/>
                  </a:lnTo>
                  <a:lnTo>
                    <a:pt x="123064" y="317638"/>
                  </a:lnTo>
                  <a:lnTo>
                    <a:pt x="112379" y="311689"/>
                  </a:lnTo>
                  <a:lnTo>
                    <a:pt x="105011" y="300793"/>
                  </a:lnTo>
                  <a:lnTo>
                    <a:pt x="89661" y="28986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1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2376921" y="4267984"/>
              <a:ext cx="78379" cy="69713"/>
            </a:xfrm>
            <a:custGeom>
              <a:avLst/>
              <a:gdLst/>
              <a:ahLst/>
              <a:cxnLst/>
              <a:rect l="0" t="0" r="0" b="0"/>
              <a:pathLst>
                <a:path w="78379" h="69713">
                  <a:moveTo>
                    <a:pt x="68693" y="69712"/>
                  </a:moveTo>
                  <a:lnTo>
                    <a:pt x="56167" y="64555"/>
                  </a:lnTo>
                  <a:lnTo>
                    <a:pt x="51481" y="59675"/>
                  </a:lnTo>
                  <a:lnTo>
                    <a:pt x="54139" y="55638"/>
                  </a:lnTo>
                  <a:lnTo>
                    <a:pt x="53300" y="50498"/>
                  </a:lnTo>
                  <a:lnTo>
                    <a:pt x="46901" y="44926"/>
                  </a:lnTo>
                  <a:lnTo>
                    <a:pt x="37817" y="40350"/>
                  </a:lnTo>
                  <a:lnTo>
                    <a:pt x="29871" y="37364"/>
                  </a:lnTo>
                  <a:lnTo>
                    <a:pt x="28355" y="30549"/>
                  </a:lnTo>
                  <a:lnTo>
                    <a:pt x="22300" y="26384"/>
                  </a:lnTo>
                  <a:lnTo>
                    <a:pt x="23784" y="33160"/>
                  </a:lnTo>
                  <a:lnTo>
                    <a:pt x="19178" y="38727"/>
                  </a:lnTo>
                  <a:lnTo>
                    <a:pt x="13902" y="32262"/>
                  </a:lnTo>
                  <a:lnTo>
                    <a:pt x="6485" y="29960"/>
                  </a:lnTo>
                  <a:lnTo>
                    <a:pt x="3331" y="25262"/>
                  </a:lnTo>
                  <a:lnTo>
                    <a:pt x="3463" y="18161"/>
                  </a:lnTo>
                  <a:lnTo>
                    <a:pt x="6519" y="10810"/>
                  </a:lnTo>
                  <a:lnTo>
                    <a:pt x="0" y="7519"/>
                  </a:lnTo>
                  <a:lnTo>
                    <a:pt x="5291" y="3007"/>
                  </a:lnTo>
                  <a:lnTo>
                    <a:pt x="8769" y="0"/>
                  </a:lnTo>
                  <a:lnTo>
                    <a:pt x="23977" y="6187"/>
                  </a:lnTo>
                  <a:lnTo>
                    <a:pt x="29284" y="3142"/>
                  </a:lnTo>
                  <a:lnTo>
                    <a:pt x="36605" y="5091"/>
                  </a:lnTo>
                  <a:lnTo>
                    <a:pt x="40431" y="9896"/>
                  </a:lnTo>
                  <a:lnTo>
                    <a:pt x="47243" y="11451"/>
                  </a:lnTo>
                  <a:lnTo>
                    <a:pt x="52770" y="6503"/>
                  </a:lnTo>
                  <a:lnTo>
                    <a:pt x="58617" y="19185"/>
                  </a:lnTo>
                  <a:lnTo>
                    <a:pt x="67541" y="28570"/>
                  </a:lnTo>
                  <a:lnTo>
                    <a:pt x="78378" y="38515"/>
                  </a:lnTo>
                  <a:lnTo>
                    <a:pt x="69452" y="40595"/>
                  </a:lnTo>
                  <a:lnTo>
                    <a:pt x="69585" y="49964"/>
                  </a:lnTo>
                  <a:lnTo>
                    <a:pt x="74385" y="53422"/>
                  </a:lnTo>
                  <a:lnTo>
                    <a:pt x="70935" y="56177"/>
                  </a:lnTo>
                  <a:lnTo>
                    <a:pt x="71833" y="60386"/>
                  </a:lnTo>
                  <a:lnTo>
                    <a:pt x="69908" y="6510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12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2399238" y="3983111"/>
              <a:ext cx="249222" cy="80557"/>
            </a:xfrm>
            <a:custGeom>
              <a:avLst/>
              <a:gdLst/>
              <a:ahLst/>
              <a:cxnLst/>
              <a:rect l="0" t="0" r="0" b="0"/>
              <a:pathLst>
                <a:path w="249222" h="80557">
                  <a:moveTo>
                    <a:pt x="62479" y="0"/>
                  </a:moveTo>
                  <a:lnTo>
                    <a:pt x="82416" y="1736"/>
                  </a:lnTo>
                  <a:lnTo>
                    <a:pt x="100552" y="2011"/>
                  </a:lnTo>
                  <a:lnTo>
                    <a:pt x="122232" y="10296"/>
                  </a:lnTo>
                  <a:lnTo>
                    <a:pt x="131420" y="19185"/>
                  </a:lnTo>
                  <a:lnTo>
                    <a:pt x="152980" y="16444"/>
                  </a:lnTo>
                  <a:lnTo>
                    <a:pt x="161155" y="22144"/>
                  </a:lnTo>
                  <a:lnTo>
                    <a:pt x="180703" y="37140"/>
                  </a:lnTo>
                  <a:lnTo>
                    <a:pt x="195074" y="48036"/>
                  </a:lnTo>
                  <a:lnTo>
                    <a:pt x="202673" y="47704"/>
                  </a:lnTo>
                  <a:lnTo>
                    <a:pt x="216439" y="52624"/>
                  </a:lnTo>
                  <a:lnTo>
                    <a:pt x="214758" y="59408"/>
                  </a:lnTo>
                  <a:lnTo>
                    <a:pt x="231774" y="60400"/>
                  </a:lnTo>
                  <a:lnTo>
                    <a:pt x="249221" y="70248"/>
                  </a:lnTo>
                  <a:lnTo>
                    <a:pt x="246483" y="75877"/>
                  </a:lnTo>
                  <a:lnTo>
                    <a:pt x="231134" y="78924"/>
                  </a:lnTo>
                  <a:lnTo>
                    <a:pt x="215598" y="80117"/>
                  </a:lnTo>
                  <a:lnTo>
                    <a:pt x="199694" y="78217"/>
                  </a:lnTo>
                  <a:lnTo>
                    <a:pt x="166644" y="80556"/>
                  </a:lnTo>
                  <a:lnTo>
                    <a:pt x="182118" y="67152"/>
                  </a:lnTo>
                  <a:lnTo>
                    <a:pt x="172711" y="60901"/>
                  </a:lnTo>
                  <a:lnTo>
                    <a:pt x="157831" y="59291"/>
                  </a:lnTo>
                  <a:lnTo>
                    <a:pt x="149855" y="52335"/>
                  </a:lnTo>
                  <a:lnTo>
                    <a:pt x="144383" y="38584"/>
                  </a:lnTo>
                  <a:lnTo>
                    <a:pt x="131338" y="39526"/>
                  </a:lnTo>
                  <a:lnTo>
                    <a:pt x="109814" y="33041"/>
                  </a:lnTo>
                  <a:lnTo>
                    <a:pt x="102888" y="27963"/>
                  </a:lnTo>
                  <a:lnTo>
                    <a:pt x="72802" y="24208"/>
                  </a:lnTo>
                  <a:lnTo>
                    <a:pt x="64745" y="19478"/>
                  </a:lnTo>
                  <a:lnTo>
                    <a:pt x="73401" y="13414"/>
                  </a:lnTo>
                  <a:lnTo>
                    <a:pt x="50759" y="12171"/>
                  </a:lnTo>
                  <a:lnTo>
                    <a:pt x="34173" y="24778"/>
                  </a:lnTo>
                  <a:lnTo>
                    <a:pt x="24609" y="25116"/>
                  </a:lnTo>
                  <a:lnTo>
                    <a:pt x="21300" y="31026"/>
                  </a:lnTo>
                  <a:lnTo>
                    <a:pt x="9877" y="33672"/>
                  </a:lnTo>
                  <a:lnTo>
                    <a:pt x="0" y="31378"/>
                  </a:lnTo>
                  <a:lnTo>
                    <a:pt x="12184" y="23896"/>
                  </a:lnTo>
                  <a:lnTo>
                    <a:pt x="17186" y="15143"/>
                  </a:lnTo>
                  <a:lnTo>
                    <a:pt x="27623" y="9742"/>
                  </a:lnTo>
                  <a:lnTo>
                    <a:pt x="39411" y="5003"/>
                  </a:lnTo>
                  <a:lnTo>
                    <a:pt x="56887" y="267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13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2700001" y="4062960"/>
              <a:ext cx="83726" cy="54639"/>
            </a:xfrm>
            <a:custGeom>
              <a:avLst/>
              <a:gdLst/>
              <a:ahLst/>
              <a:cxnLst/>
              <a:rect l="0" t="0" r="0" b="0"/>
              <a:pathLst>
                <a:path w="83726" h="54639">
                  <a:moveTo>
                    <a:pt x="5372" y="4090"/>
                  </a:moveTo>
                  <a:lnTo>
                    <a:pt x="8259" y="0"/>
                  </a:lnTo>
                  <a:lnTo>
                    <a:pt x="26277" y="111"/>
                  </a:lnTo>
                  <a:lnTo>
                    <a:pt x="39950" y="6286"/>
                  </a:lnTo>
                  <a:lnTo>
                    <a:pt x="46034" y="5684"/>
                  </a:lnTo>
                  <a:lnTo>
                    <a:pt x="50225" y="14184"/>
                  </a:lnTo>
                  <a:lnTo>
                    <a:pt x="62854" y="13707"/>
                  </a:lnTo>
                  <a:lnTo>
                    <a:pt x="62110" y="20840"/>
                  </a:lnTo>
                  <a:lnTo>
                    <a:pt x="72380" y="21703"/>
                  </a:lnTo>
                  <a:lnTo>
                    <a:pt x="83725" y="30472"/>
                  </a:lnTo>
                  <a:lnTo>
                    <a:pt x="75152" y="40187"/>
                  </a:lnTo>
                  <a:lnTo>
                    <a:pt x="64173" y="34998"/>
                  </a:lnTo>
                  <a:lnTo>
                    <a:pt x="53578" y="35999"/>
                  </a:lnTo>
                  <a:lnTo>
                    <a:pt x="45984" y="34863"/>
                  </a:lnTo>
                  <a:lnTo>
                    <a:pt x="41823" y="39215"/>
                  </a:lnTo>
                  <a:lnTo>
                    <a:pt x="32961" y="40684"/>
                  </a:lnTo>
                  <a:lnTo>
                    <a:pt x="29449" y="34897"/>
                  </a:lnTo>
                  <a:lnTo>
                    <a:pt x="21817" y="38322"/>
                  </a:lnTo>
                  <a:lnTo>
                    <a:pt x="12578" y="54638"/>
                  </a:lnTo>
                  <a:lnTo>
                    <a:pt x="6635" y="50853"/>
                  </a:lnTo>
                  <a:lnTo>
                    <a:pt x="5466" y="44006"/>
                  </a:lnTo>
                  <a:lnTo>
                    <a:pt x="5941" y="37527"/>
                  </a:lnTo>
                  <a:lnTo>
                    <a:pt x="0" y="30360"/>
                  </a:lnTo>
                  <a:lnTo>
                    <a:pt x="5627" y="26333"/>
                  </a:lnTo>
                  <a:lnTo>
                    <a:pt x="7392" y="1713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14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2491734" y="4496093"/>
              <a:ext cx="132358" cy="146440"/>
            </a:xfrm>
            <a:custGeom>
              <a:avLst/>
              <a:gdLst/>
              <a:ahLst/>
              <a:cxnLst/>
              <a:rect l="0" t="0" r="0" b="0"/>
              <a:pathLst>
                <a:path w="132358" h="146440">
                  <a:moveTo>
                    <a:pt x="15354" y="110500"/>
                  </a:moveTo>
                  <a:lnTo>
                    <a:pt x="27641" y="93234"/>
                  </a:lnTo>
                  <a:lnTo>
                    <a:pt x="22649" y="83148"/>
                  </a:lnTo>
                  <a:lnTo>
                    <a:pt x="13826" y="93873"/>
                  </a:lnTo>
                  <a:lnTo>
                    <a:pt x="0" y="83751"/>
                  </a:lnTo>
                  <a:lnTo>
                    <a:pt x="4685" y="77242"/>
                  </a:lnTo>
                  <a:lnTo>
                    <a:pt x="787" y="56287"/>
                  </a:lnTo>
                  <a:lnTo>
                    <a:pt x="8873" y="52806"/>
                  </a:lnTo>
                  <a:lnTo>
                    <a:pt x="13121" y="38426"/>
                  </a:lnTo>
                  <a:lnTo>
                    <a:pt x="21856" y="23560"/>
                  </a:lnTo>
                  <a:lnTo>
                    <a:pt x="20247" y="14140"/>
                  </a:lnTo>
                  <a:lnTo>
                    <a:pt x="32893" y="9188"/>
                  </a:lnTo>
                  <a:lnTo>
                    <a:pt x="48762" y="0"/>
                  </a:lnTo>
                  <a:lnTo>
                    <a:pt x="71849" y="13182"/>
                  </a:lnTo>
                  <a:lnTo>
                    <a:pt x="76153" y="12813"/>
                  </a:lnTo>
                  <a:lnTo>
                    <a:pt x="81777" y="22744"/>
                  </a:lnTo>
                  <a:lnTo>
                    <a:pt x="101365" y="25947"/>
                  </a:lnTo>
                  <a:lnTo>
                    <a:pt x="107922" y="22274"/>
                  </a:lnTo>
                  <a:lnTo>
                    <a:pt x="119252" y="29920"/>
                  </a:lnTo>
                  <a:lnTo>
                    <a:pt x="129137" y="35387"/>
                  </a:lnTo>
                  <a:lnTo>
                    <a:pt x="132357" y="52916"/>
                  </a:lnTo>
                  <a:lnTo>
                    <a:pt x="125172" y="67926"/>
                  </a:lnTo>
                  <a:lnTo>
                    <a:pt x="100003" y="92106"/>
                  </a:lnTo>
                  <a:lnTo>
                    <a:pt x="72245" y="101216"/>
                  </a:lnTo>
                  <a:lnTo>
                    <a:pt x="58101" y="121322"/>
                  </a:lnTo>
                  <a:lnTo>
                    <a:pt x="53733" y="136923"/>
                  </a:lnTo>
                  <a:lnTo>
                    <a:pt x="40682" y="146439"/>
                  </a:lnTo>
                  <a:lnTo>
                    <a:pt x="30995" y="134759"/>
                  </a:lnTo>
                  <a:lnTo>
                    <a:pt x="21671" y="132259"/>
                  </a:lnTo>
                  <a:lnTo>
                    <a:pt x="12130" y="134100"/>
                  </a:lnTo>
                  <a:lnTo>
                    <a:pt x="11506" y="125627"/>
                  </a:lnTo>
                  <a:lnTo>
                    <a:pt x="18091" y="12012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15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2231789" y="4112342"/>
              <a:ext cx="92429" cy="96620"/>
            </a:xfrm>
            <a:custGeom>
              <a:avLst/>
              <a:gdLst/>
              <a:ahLst/>
              <a:cxnLst/>
              <a:rect l="0" t="0" r="0" b="0"/>
              <a:pathLst>
                <a:path w="92429" h="96620">
                  <a:moveTo>
                    <a:pt x="49251" y="96619"/>
                  </a:moveTo>
                  <a:lnTo>
                    <a:pt x="37408" y="92516"/>
                  </a:lnTo>
                  <a:lnTo>
                    <a:pt x="23009" y="92091"/>
                  </a:lnTo>
                  <a:lnTo>
                    <a:pt x="12453" y="87423"/>
                  </a:lnTo>
                  <a:lnTo>
                    <a:pt x="34" y="77705"/>
                  </a:lnTo>
                  <a:lnTo>
                    <a:pt x="600" y="70837"/>
                  </a:lnTo>
                  <a:lnTo>
                    <a:pt x="3278" y="65305"/>
                  </a:lnTo>
                  <a:lnTo>
                    <a:pt x="0" y="60893"/>
                  </a:lnTo>
                  <a:lnTo>
                    <a:pt x="11109" y="41619"/>
                  </a:lnTo>
                  <a:lnTo>
                    <a:pt x="40735" y="41548"/>
                  </a:lnTo>
                  <a:lnTo>
                    <a:pt x="41327" y="33481"/>
                  </a:lnTo>
                  <a:lnTo>
                    <a:pt x="37587" y="32043"/>
                  </a:lnTo>
                  <a:lnTo>
                    <a:pt x="35026" y="26903"/>
                  </a:lnTo>
                  <a:lnTo>
                    <a:pt x="26489" y="21421"/>
                  </a:lnTo>
                  <a:lnTo>
                    <a:pt x="17896" y="13494"/>
                  </a:lnTo>
                  <a:lnTo>
                    <a:pt x="28322" y="13435"/>
                  </a:lnTo>
                  <a:lnTo>
                    <a:pt x="28339" y="41"/>
                  </a:lnTo>
                  <a:lnTo>
                    <a:pt x="49889" y="0"/>
                  </a:lnTo>
                  <a:lnTo>
                    <a:pt x="71237" y="262"/>
                  </a:lnTo>
                  <a:lnTo>
                    <a:pt x="71058" y="19116"/>
                  </a:lnTo>
                  <a:lnTo>
                    <a:pt x="69251" y="45870"/>
                  </a:lnTo>
                  <a:lnTo>
                    <a:pt x="76141" y="45863"/>
                  </a:lnTo>
                  <a:lnTo>
                    <a:pt x="83667" y="50142"/>
                  </a:lnTo>
                  <a:lnTo>
                    <a:pt x="85657" y="46617"/>
                  </a:lnTo>
                  <a:lnTo>
                    <a:pt x="92428" y="49637"/>
                  </a:lnTo>
                  <a:lnTo>
                    <a:pt x="81910" y="58654"/>
                  </a:lnTo>
                  <a:lnTo>
                    <a:pt x="70966" y="65262"/>
                  </a:lnTo>
                  <a:lnTo>
                    <a:pt x="69341" y="69795"/>
                  </a:lnTo>
                  <a:lnTo>
                    <a:pt x="71180" y="74424"/>
                  </a:lnTo>
                  <a:lnTo>
                    <a:pt x="66384" y="80407"/>
                  </a:lnTo>
                  <a:lnTo>
                    <a:pt x="60982" y="81857"/>
                  </a:lnTo>
                  <a:lnTo>
                    <a:pt x="62208" y="84631"/>
                  </a:lnTo>
                  <a:lnTo>
                    <a:pt x="57875" y="87234"/>
                  </a:lnTo>
                  <a:lnTo>
                    <a:pt x="49964" y="9317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16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2943172" y="4334396"/>
              <a:ext cx="112435" cy="164303"/>
            </a:xfrm>
            <a:custGeom>
              <a:avLst/>
              <a:gdLst/>
              <a:ahLst/>
              <a:cxnLst/>
              <a:rect l="0" t="0" r="0" b="0"/>
              <a:pathLst>
                <a:path w="112435" h="164303">
                  <a:moveTo>
                    <a:pt x="38133" y="0"/>
                  </a:moveTo>
                  <a:lnTo>
                    <a:pt x="53289" y="8547"/>
                  </a:lnTo>
                  <a:lnTo>
                    <a:pt x="67571" y="23672"/>
                  </a:lnTo>
                  <a:lnTo>
                    <a:pt x="68220" y="35616"/>
                  </a:lnTo>
                  <a:lnTo>
                    <a:pt x="76917" y="36165"/>
                  </a:lnTo>
                  <a:lnTo>
                    <a:pt x="89286" y="47473"/>
                  </a:lnTo>
                  <a:lnTo>
                    <a:pt x="98399" y="55538"/>
                  </a:lnTo>
                  <a:lnTo>
                    <a:pt x="94710" y="76365"/>
                  </a:lnTo>
                  <a:lnTo>
                    <a:pt x="80698" y="82403"/>
                  </a:lnTo>
                  <a:lnTo>
                    <a:pt x="81946" y="87858"/>
                  </a:lnTo>
                  <a:lnTo>
                    <a:pt x="77688" y="99789"/>
                  </a:lnTo>
                  <a:lnTo>
                    <a:pt x="87916" y="116574"/>
                  </a:lnTo>
                  <a:lnTo>
                    <a:pt x="95306" y="116601"/>
                  </a:lnTo>
                  <a:lnTo>
                    <a:pt x="98337" y="129644"/>
                  </a:lnTo>
                  <a:lnTo>
                    <a:pt x="112434" y="149723"/>
                  </a:lnTo>
                  <a:lnTo>
                    <a:pt x="106818" y="150550"/>
                  </a:lnTo>
                  <a:lnTo>
                    <a:pt x="94050" y="148592"/>
                  </a:lnTo>
                  <a:lnTo>
                    <a:pt x="86545" y="154732"/>
                  </a:lnTo>
                  <a:lnTo>
                    <a:pt x="76100" y="158782"/>
                  </a:lnTo>
                  <a:lnTo>
                    <a:pt x="68806" y="159780"/>
                  </a:lnTo>
                  <a:lnTo>
                    <a:pt x="66254" y="164302"/>
                  </a:lnTo>
                  <a:lnTo>
                    <a:pt x="54924" y="163157"/>
                  </a:lnTo>
                  <a:lnTo>
                    <a:pt x="40724" y="152324"/>
                  </a:lnTo>
                  <a:lnTo>
                    <a:pt x="39051" y="141639"/>
                  </a:lnTo>
                  <a:lnTo>
                    <a:pt x="33142" y="129961"/>
                  </a:lnTo>
                  <a:lnTo>
                    <a:pt x="36815" y="110292"/>
                  </a:lnTo>
                  <a:lnTo>
                    <a:pt x="43217" y="102148"/>
                  </a:lnTo>
                  <a:lnTo>
                    <a:pt x="37923" y="91403"/>
                  </a:lnTo>
                  <a:lnTo>
                    <a:pt x="29992" y="87900"/>
                  </a:lnTo>
                  <a:lnTo>
                    <a:pt x="32993" y="77742"/>
                  </a:lnTo>
                  <a:lnTo>
                    <a:pt x="27621" y="72409"/>
                  </a:lnTo>
                  <a:lnTo>
                    <a:pt x="15621" y="73433"/>
                  </a:lnTo>
                  <a:lnTo>
                    <a:pt x="0" y="55864"/>
                  </a:lnTo>
                  <a:lnTo>
                    <a:pt x="6253" y="49488"/>
                  </a:lnTo>
                  <a:lnTo>
                    <a:pt x="5793" y="38786"/>
                  </a:lnTo>
                  <a:lnTo>
                    <a:pt x="19997" y="35064"/>
                  </a:lnTo>
                  <a:lnTo>
                    <a:pt x="25729" y="30719"/>
                  </a:lnTo>
                  <a:lnTo>
                    <a:pt x="17828" y="22110"/>
                  </a:lnTo>
                  <a:lnTo>
                    <a:pt x="19845" y="1364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17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2298173" y="4155409"/>
              <a:ext cx="143254" cy="71186"/>
            </a:xfrm>
            <a:custGeom>
              <a:avLst/>
              <a:gdLst/>
              <a:ahLst/>
              <a:cxnLst/>
              <a:rect l="0" t="0" r="0" b="0"/>
              <a:pathLst>
                <a:path w="143254" h="71186">
                  <a:moveTo>
                    <a:pt x="47011" y="71185"/>
                  </a:moveTo>
                  <a:lnTo>
                    <a:pt x="43024" y="63840"/>
                  </a:lnTo>
                  <a:lnTo>
                    <a:pt x="36013" y="61798"/>
                  </a:lnTo>
                  <a:lnTo>
                    <a:pt x="37620" y="52383"/>
                  </a:lnTo>
                  <a:lnTo>
                    <a:pt x="34481" y="49836"/>
                  </a:lnTo>
                  <a:lnTo>
                    <a:pt x="29730" y="48158"/>
                  </a:lnTo>
                  <a:lnTo>
                    <a:pt x="19604" y="50961"/>
                  </a:lnTo>
                  <a:lnTo>
                    <a:pt x="18745" y="47793"/>
                  </a:lnTo>
                  <a:lnTo>
                    <a:pt x="11778" y="44019"/>
                  </a:lnTo>
                  <a:lnTo>
                    <a:pt x="6805" y="39321"/>
                  </a:lnTo>
                  <a:lnTo>
                    <a:pt x="0" y="37340"/>
                  </a:lnTo>
                  <a:lnTo>
                    <a:pt x="4796" y="31357"/>
                  </a:lnTo>
                  <a:lnTo>
                    <a:pt x="2957" y="26728"/>
                  </a:lnTo>
                  <a:lnTo>
                    <a:pt x="4582" y="22195"/>
                  </a:lnTo>
                  <a:lnTo>
                    <a:pt x="15526" y="15587"/>
                  </a:lnTo>
                  <a:lnTo>
                    <a:pt x="26044" y="6570"/>
                  </a:lnTo>
                  <a:lnTo>
                    <a:pt x="28441" y="7494"/>
                  </a:lnTo>
                  <a:lnTo>
                    <a:pt x="33504" y="3336"/>
                  </a:lnTo>
                  <a:lnTo>
                    <a:pt x="40109" y="2996"/>
                  </a:lnTo>
                  <a:lnTo>
                    <a:pt x="42250" y="4925"/>
                  </a:lnTo>
                  <a:lnTo>
                    <a:pt x="45832" y="3750"/>
                  </a:lnTo>
                  <a:lnTo>
                    <a:pt x="56555" y="5884"/>
                  </a:lnTo>
                  <a:lnTo>
                    <a:pt x="67225" y="5266"/>
                  </a:lnTo>
                  <a:lnTo>
                    <a:pt x="74651" y="2650"/>
                  </a:lnTo>
                  <a:lnTo>
                    <a:pt x="77358" y="0"/>
                  </a:lnTo>
                  <a:lnTo>
                    <a:pt x="84713" y="1225"/>
                  </a:lnTo>
                  <a:lnTo>
                    <a:pt x="90237" y="2832"/>
                  </a:lnTo>
                  <a:lnTo>
                    <a:pt x="96275" y="2278"/>
                  </a:lnTo>
                  <a:lnTo>
                    <a:pt x="100862" y="224"/>
                  </a:lnTo>
                  <a:lnTo>
                    <a:pt x="111405" y="3507"/>
                  </a:lnTo>
                  <a:lnTo>
                    <a:pt x="115068" y="4029"/>
                  </a:lnTo>
                  <a:lnTo>
                    <a:pt x="122113" y="8450"/>
                  </a:lnTo>
                  <a:lnTo>
                    <a:pt x="128786" y="13748"/>
                  </a:lnTo>
                  <a:lnTo>
                    <a:pt x="137179" y="17367"/>
                  </a:lnTo>
                  <a:lnTo>
                    <a:pt x="143253" y="23860"/>
                  </a:lnTo>
                  <a:lnTo>
                    <a:pt x="135341" y="23378"/>
                  </a:lnTo>
                  <a:lnTo>
                    <a:pt x="132142" y="26592"/>
                  </a:lnTo>
                  <a:lnTo>
                    <a:pt x="124129" y="29673"/>
                  </a:lnTo>
                  <a:lnTo>
                    <a:pt x="118298" y="29689"/>
                  </a:lnTo>
                  <a:lnTo>
                    <a:pt x="113197" y="32687"/>
                  </a:lnTo>
                  <a:lnTo>
                    <a:pt x="108575" y="31621"/>
                  </a:lnTo>
                  <a:lnTo>
                    <a:pt x="104640" y="28018"/>
                  </a:lnTo>
                  <a:lnTo>
                    <a:pt x="102229" y="28705"/>
                  </a:lnTo>
                  <a:lnTo>
                    <a:pt x="99267" y="34338"/>
                  </a:lnTo>
                  <a:lnTo>
                    <a:pt x="97053" y="34134"/>
                  </a:lnTo>
                  <a:lnTo>
                    <a:pt x="96669" y="38983"/>
                  </a:lnTo>
                  <a:lnTo>
                    <a:pt x="88612" y="45467"/>
                  </a:lnTo>
                  <a:lnTo>
                    <a:pt x="84359" y="48265"/>
                  </a:lnTo>
                  <a:lnTo>
                    <a:pt x="81990" y="51183"/>
                  </a:lnTo>
                  <a:lnTo>
                    <a:pt x="75181" y="46428"/>
                  </a:lnTo>
                  <a:lnTo>
                    <a:pt x="70198" y="52705"/>
                  </a:lnTo>
                  <a:lnTo>
                    <a:pt x="65384" y="52537"/>
                  </a:lnTo>
                  <a:lnTo>
                    <a:pt x="59974" y="53093"/>
                  </a:lnTo>
                  <a:lnTo>
                    <a:pt x="60465" y="64649"/>
                  </a:lnTo>
                  <a:lnTo>
                    <a:pt x="57078" y="64858"/>
                  </a:lnTo>
                  <a:lnTo>
                    <a:pt x="54187" y="7022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18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2641996" y="4062221"/>
              <a:ext cx="65398" cy="45079"/>
            </a:xfrm>
            <a:custGeom>
              <a:avLst/>
              <a:gdLst/>
              <a:ahLst/>
              <a:cxnLst/>
              <a:rect l="0" t="0" r="0" b="0"/>
              <a:pathLst>
                <a:path w="65398" h="45079">
                  <a:moveTo>
                    <a:pt x="29274" y="0"/>
                  </a:moveTo>
                  <a:lnTo>
                    <a:pt x="43357" y="1061"/>
                  </a:lnTo>
                  <a:lnTo>
                    <a:pt x="63377" y="4829"/>
                  </a:lnTo>
                  <a:lnTo>
                    <a:pt x="65397" y="17878"/>
                  </a:lnTo>
                  <a:lnTo>
                    <a:pt x="63632" y="27072"/>
                  </a:lnTo>
                  <a:lnTo>
                    <a:pt x="58005" y="31099"/>
                  </a:lnTo>
                  <a:lnTo>
                    <a:pt x="63946" y="38266"/>
                  </a:lnTo>
                  <a:lnTo>
                    <a:pt x="63471" y="44745"/>
                  </a:lnTo>
                  <a:lnTo>
                    <a:pt x="48140" y="40692"/>
                  </a:lnTo>
                  <a:lnTo>
                    <a:pt x="37246" y="42346"/>
                  </a:lnTo>
                  <a:lnTo>
                    <a:pt x="23163" y="40622"/>
                  </a:lnTo>
                  <a:lnTo>
                    <a:pt x="12363" y="45078"/>
                  </a:lnTo>
                  <a:lnTo>
                    <a:pt x="0" y="37649"/>
                  </a:lnTo>
                  <a:lnTo>
                    <a:pt x="2034" y="29952"/>
                  </a:lnTo>
                  <a:lnTo>
                    <a:pt x="23279" y="33269"/>
                  </a:lnTo>
                  <a:lnTo>
                    <a:pt x="40697" y="35184"/>
                  </a:lnTo>
                  <a:lnTo>
                    <a:pt x="49008" y="29868"/>
                  </a:lnTo>
                  <a:lnTo>
                    <a:pt x="38464" y="19511"/>
                  </a:lnTo>
                  <a:lnTo>
                    <a:pt x="38639" y="10364"/>
                  </a:lnTo>
                  <a:lnTo>
                    <a:pt x="24075" y="662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19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2552442" y="4095533"/>
              <a:ext cx="49353" cy="19625"/>
            </a:xfrm>
            <a:custGeom>
              <a:avLst/>
              <a:gdLst/>
              <a:ahLst/>
              <a:cxnLst/>
              <a:rect l="0" t="0" r="0" b="0"/>
              <a:pathLst>
                <a:path w="49353" h="19625">
                  <a:moveTo>
                    <a:pt x="17730" y="805"/>
                  </a:moveTo>
                  <a:lnTo>
                    <a:pt x="33265" y="2945"/>
                  </a:lnTo>
                  <a:lnTo>
                    <a:pt x="45528" y="8674"/>
                  </a:lnTo>
                  <a:lnTo>
                    <a:pt x="49352" y="15201"/>
                  </a:lnTo>
                  <a:lnTo>
                    <a:pt x="33127" y="15644"/>
                  </a:lnTo>
                  <a:lnTo>
                    <a:pt x="26115" y="19624"/>
                  </a:lnTo>
                  <a:lnTo>
                    <a:pt x="13197" y="15802"/>
                  </a:lnTo>
                  <a:lnTo>
                    <a:pt x="0" y="7118"/>
                  </a:lnTo>
                  <a:lnTo>
                    <a:pt x="2770" y="1664"/>
                  </a:lnTo>
                  <a:lnTo>
                    <a:pt x="12473" y="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20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1657064" y="3744951"/>
              <a:ext cx="699770" cy="445097"/>
            </a:xfrm>
            <a:custGeom>
              <a:avLst/>
              <a:gdLst/>
              <a:ahLst/>
              <a:cxnLst/>
              <a:rect l="0" t="0" r="0" b="0"/>
              <a:pathLst>
                <a:path w="699770" h="445097">
                  <a:moveTo>
                    <a:pt x="461371" y="172445"/>
                  </a:moveTo>
                  <a:lnTo>
                    <a:pt x="452414" y="194057"/>
                  </a:lnTo>
                  <a:lnTo>
                    <a:pt x="448377" y="211705"/>
                  </a:lnTo>
                  <a:lnTo>
                    <a:pt x="446690" y="244390"/>
                  </a:lnTo>
                  <a:lnTo>
                    <a:pt x="444466" y="256253"/>
                  </a:lnTo>
                  <a:lnTo>
                    <a:pt x="448467" y="269474"/>
                  </a:lnTo>
                  <a:lnTo>
                    <a:pt x="455625" y="281265"/>
                  </a:lnTo>
                  <a:lnTo>
                    <a:pt x="460233" y="299968"/>
                  </a:lnTo>
                  <a:lnTo>
                    <a:pt x="475554" y="317865"/>
                  </a:lnTo>
                  <a:lnTo>
                    <a:pt x="480943" y="331544"/>
                  </a:lnTo>
                  <a:lnTo>
                    <a:pt x="489973" y="343324"/>
                  </a:lnTo>
                  <a:lnTo>
                    <a:pt x="514483" y="349663"/>
                  </a:lnTo>
                  <a:lnTo>
                    <a:pt x="524024" y="359645"/>
                  </a:lnTo>
                  <a:lnTo>
                    <a:pt x="544269" y="352979"/>
                  </a:lnTo>
                  <a:lnTo>
                    <a:pt x="561871" y="350567"/>
                  </a:lnTo>
                  <a:lnTo>
                    <a:pt x="579154" y="346274"/>
                  </a:lnTo>
                  <a:lnTo>
                    <a:pt x="593684" y="342175"/>
                  </a:lnTo>
                  <a:lnTo>
                    <a:pt x="608365" y="332412"/>
                  </a:lnTo>
                  <a:lnTo>
                    <a:pt x="613865" y="318429"/>
                  </a:lnTo>
                  <a:lnTo>
                    <a:pt x="615760" y="298232"/>
                  </a:lnTo>
                  <a:lnTo>
                    <a:pt x="619750" y="291188"/>
                  </a:lnTo>
                  <a:lnTo>
                    <a:pt x="635384" y="284870"/>
                  </a:lnTo>
                  <a:lnTo>
                    <a:pt x="659793" y="279268"/>
                  </a:lnTo>
                  <a:lnTo>
                    <a:pt x="680232" y="280110"/>
                  </a:lnTo>
                  <a:lnTo>
                    <a:pt x="694232" y="278064"/>
                  </a:lnTo>
                  <a:lnTo>
                    <a:pt x="699769" y="283185"/>
                  </a:lnTo>
                  <a:lnTo>
                    <a:pt x="698986" y="294803"/>
                  </a:lnTo>
                  <a:lnTo>
                    <a:pt x="686582" y="309110"/>
                  </a:lnTo>
                  <a:lnTo>
                    <a:pt x="681094" y="323727"/>
                  </a:lnTo>
                  <a:lnTo>
                    <a:pt x="685348" y="327902"/>
                  </a:lnTo>
                  <a:lnTo>
                    <a:pt x="681890" y="338252"/>
                  </a:lnTo>
                  <a:lnTo>
                    <a:pt x="676105" y="356892"/>
                  </a:lnTo>
                  <a:lnTo>
                    <a:pt x="670254" y="350763"/>
                  </a:lnTo>
                  <a:lnTo>
                    <a:pt x="665421" y="351161"/>
                  </a:lnTo>
                  <a:lnTo>
                    <a:pt x="661034" y="351475"/>
                  </a:lnTo>
                  <a:lnTo>
                    <a:pt x="652765" y="365870"/>
                  </a:lnTo>
                  <a:lnTo>
                    <a:pt x="648575" y="363051"/>
                  </a:lnTo>
                  <a:lnTo>
                    <a:pt x="645781" y="364148"/>
                  </a:lnTo>
                  <a:lnTo>
                    <a:pt x="645962" y="367653"/>
                  </a:lnTo>
                  <a:lnTo>
                    <a:pt x="624614" y="367391"/>
                  </a:lnTo>
                  <a:lnTo>
                    <a:pt x="603064" y="367432"/>
                  </a:lnTo>
                  <a:lnTo>
                    <a:pt x="603047" y="380826"/>
                  </a:lnTo>
                  <a:lnTo>
                    <a:pt x="592621" y="380885"/>
                  </a:lnTo>
                  <a:lnTo>
                    <a:pt x="601214" y="388812"/>
                  </a:lnTo>
                  <a:lnTo>
                    <a:pt x="609751" y="394294"/>
                  </a:lnTo>
                  <a:lnTo>
                    <a:pt x="612312" y="399434"/>
                  </a:lnTo>
                  <a:lnTo>
                    <a:pt x="616052" y="400872"/>
                  </a:lnTo>
                  <a:lnTo>
                    <a:pt x="615460" y="408939"/>
                  </a:lnTo>
                  <a:lnTo>
                    <a:pt x="585834" y="409010"/>
                  </a:lnTo>
                  <a:lnTo>
                    <a:pt x="574725" y="428284"/>
                  </a:lnTo>
                  <a:lnTo>
                    <a:pt x="578003" y="432696"/>
                  </a:lnTo>
                  <a:lnTo>
                    <a:pt x="575325" y="438228"/>
                  </a:lnTo>
                  <a:lnTo>
                    <a:pt x="574759" y="445096"/>
                  </a:lnTo>
                  <a:lnTo>
                    <a:pt x="548636" y="419684"/>
                  </a:lnTo>
                  <a:lnTo>
                    <a:pt x="536733" y="412002"/>
                  </a:lnTo>
                  <a:lnTo>
                    <a:pt x="517886" y="405827"/>
                  </a:lnTo>
                  <a:lnTo>
                    <a:pt x="504992" y="407548"/>
                  </a:lnTo>
                  <a:lnTo>
                    <a:pt x="486453" y="416452"/>
                  </a:lnTo>
                  <a:lnTo>
                    <a:pt x="474818" y="418783"/>
                  </a:lnTo>
                  <a:lnTo>
                    <a:pt x="458518" y="412549"/>
                  </a:lnTo>
                  <a:lnTo>
                    <a:pt x="441219" y="408045"/>
                  </a:lnTo>
                  <a:lnTo>
                    <a:pt x="419645" y="397175"/>
                  </a:lnTo>
                  <a:lnTo>
                    <a:pt x="402340" y="393851"/>
                  </a:lnTo>
                  <a:lnTo>
                    <a:pt x="376208" y="382813"/>
                  </a:lnTo>
                  <a:lnTo>
                    <a:pt x="356897" y="371446"/>
                  </a:lnTo>
                  <a:lnTo>
                    <a:pt x="351070" y="365087"/>
                  </a:lnTo>
                  <a:lnTo>
                    <a:pt x="338153" y="363665"/>
                  </a:lnTo>
                  <a:lnTo>
                    <a:pt x="314543" y="356118"/>
                  </a:lnTo>
                  <a:lnTo>
                    <a:pt x="304928" y="345223"/>
                  </a:lnTo>
                  <a:lnTo>
                    <a:pt x="280126" y="331646"/>
                  </a:lnTo>
                  <a:lnTo>
                    <a:pt x="268561" y="316524"/>
                  </a:lnTo>
                  <a:lnTo>
                    <a:pt x="263059" y="304813"/>
                  </a:lnTo>
                  <a:lnTo>
                    <a:pt x="270760" y="302464"/>
                  </a:lnTo>
                  <a:lnTo>
                    <a:pt x="268385" y="295598"/>
                  </a:lnTo>
                  <a:lnTo>
                    <a:pt x="273692" y="289345"/>
                  </a:lnTo>
                  <a:lnTo>
                    <a:pt x="273806" y="280997"/>
                  </a:lnTo>
                  <a:lnTo>
                    <a:pt x="266019" y="270140"/>
                  </a:lnTo>
                  <a:lnTo>
                    <a:pt x="263936" y="260501"/>
                  </a:lnTo>
                  <a:lnTo>
                    <a:pt x="256196" y="248251"/>
                  </a:lnTo>
                  <a:lnTo>
                    <a:pt x="235854" y="224039"/>
                  </a:lnTo>
                  <a:lnTo>
                    <a:pt x="212645" y="204932"/>
                  </a:lnTo>
                  <a:lnTo>
                    <a:pt x="201417" y="189629"/>
                  </a:lnTo>
                  <a:lnTo>
                    <a:pt x="181605" y="179580"/>
                  </a:lnTo>
                  <a:lnTo>
                    <a:pt x="177360" y="173558"/>
                  </a:lnTo>
                  <a:lnTo>
                    <a:pt x="180879" y="158286"/>
                  </a:lnTo>
                  <a:lnTo>
                    <a:pt x="169111" y="152510"/>
                  </a:lnTo>
                  <a:lnTo>
                    <a:pt x="155486" y="140451"/>
                  </a:lnTo>
                  <a:lnTo>
                    <a:pt x="149732" y="123079"/>
                  </a:lnTo>
                  <a:lnTo>
                    <a:pt x="137316" y="121049"/>
                  </a:lnTo>
                  <a:lnTo>
                    <a:pt x="123912" y="107883"/>
                  </a:lnTo>
                  <a:lnTo>
                    <a:pt x="113095" y="95687"/>
                  </a:lnTo>
                  <a:lnTo>
                    <a:pt x="112088" y="87836"/>
                  </a:lnTo>
                  <a:lnTo>
                    <a:pt x="99675" y="68819"/>
                  </a:lnTo>
                  <a:lnTo>
                    <a:pt x="91499" y="49421"/>
                  </a:lnTo>
                  <a:lnTo>
                    <a:pt x="91848" y="39656"/>
                  </a:lnTo>
                  <a:lnTo>
                    <a:pt x="75155" y="29546"/>
                  </a:lnTo>
                  <a:lnTo>
                    <a:pt x="67449" y="30658"/>
                  </a:lnTo>
                  <a:lnTo>
                    <a:pt x="54275" y="23622"/>
                  </a:lnTo>
                  <a:lnTo>
                    <a:pt x="50576" y="33988"/>
                  </a:lnTo>
                  <a:lnTo>
                    <a:pt x="54395" y="46202"/>
                  </a:lnTo>
                  <a:lnTo>
                    <a:pt x="56642" y="65240"/>
                  </a:lnTo>
                  <a:lnTo>
                    <a:pt x="64558" y="75654"/>
                  </a:lnTo>
                  <a:lnTo>
                    <a:pt x="81687" y="92995"/>
                  </a:lnTo>
                  <a:lnTo>
                    <a:pt x="85492" y="98905"/>
                  </a:lnTo>
                  <a:lnTo>
                    <a:pt x="89002" y="100696"/>
                  </a:lnTo>
                  <a:lnTo>
                    <a:pt x="92048" y="109301"/>
                  </a:lnTo>
                  <a:lnTo>
                    <a:pt x="96150" y="108953"/>
                  </a:lnTo>
                  <a:lnTo>
                    <a:pt x="100783" y="125065"/>
                  </a:lnTo>
                  <a:lnTo>
                    <a:pt x="107793" y="131405"/>
                  </a:lnTo>
                  <a:lnTo>
                    <a:pt x="112709" y="140212"/>
                  </a:lnTo>
                  <a:lnTo>
                    <a:pt x="127215" y="152841"/>
                  </a:lnTo>
                  <a:lnTo>
                    <a:pt x="134874" y="175834"/>
                  </a:lnTo>
                  <a:lnTo>
                    <a:pt x="141727" y="186621"/>
                  </a:lnTo>
                  <a:lnTo>
                    <a:pt x="148139" y="198136"/>
                  </a:lnTo>
                  <a:lnTo>
                    <a:pt x="149408" y="211063"/>
                  </a:lnTo>
                  <a:lnTo>
                    <a:pt x="160538" y="211871"/>
                  </a:lnTo>
                  <a:lnTo>
                    <a:pt x="169794" y="222979"/>
                  </a:lnTo>
                  <a:lnTo>
                    <a:pt x="178168" y="233871"/>
                  </a:lnTo>
                  <a:lnTo>
                    <a:pt x="177607" y="238233"/>
                  </a:lnTo>
                  <a:lnTo>
                    <a:pt x="167893" y="247169"/>
                  </a:lnTo>
                  <a:lnTo>
                    <a:pt x="163803" y="247052"/>
                  </a:lnTo>
                  <a:lnTo>
                    <a:pt x="157717" y="232255"/>
                  </a:lnTo>
                  <a:lnTo>
                    <a:pt x="142611" y="218343"/>
                  </a:lnTo>
                  <a:lnTo>
                    <a:pt x="125967" y="206512"/>
                  </a:lnTo>
                  <a:lnTo>
                    <a:pt x="114161" y="200285"/>
                  </a:lnTo>
                  <a:lnTo>
                    <a:pt x="114924" y="182302"/>
                  </a:lnTo>
                  <a:lnTo>
                    <a:pt x="111421" y="168940"/>
                  </a:lnTo>
                  <a:lnTo>
                    <a:pt x="100421" y="161280"/>
                  </a:lnTo>
                  <a:lnTo>
                    <a:pt x="84554" y="150229"/>
                  </a:lnTo>
                  <a:lnTo>
                    <a:pt x="81506" y="153420"/>
                  </a:lnTo>
                  <a:lnTo>
                    <a:pt x="75684" y="146958"/>
                  </a:lnTo>
                  <a:lnTo>
                    <a:pt x="61447" y="140949"/>
                  </a:lnTo>
                  <a:lnTo>
                    <a:pt x="47842" y="126499"/>
                  </a:lnTo>
                  <a:lnTo>
                    <a:pt x="49524" y="124617"/>
                  </a:lnTo>
                  <a:lnTo>
                    <a:pt x="59032" y="126031"/>
                  </a:lnTo>
                  <a:lnTo>
                    <a:pt x="67596" y="116710"/>
                  </a:lnTo>
                  <a:lnTo>
                    <a:pt x="68458" y="105425"/>
                  </a:lnTo>
                  <a:lnTo>
                    <a:pt x="50688" y="87518"/>
                  </a:lnTo>
                  <a:lnTo>
                    <a:pt x="37143" y="80547"/>
                  </a:lnTo>
                  <a:lnTo>
                    <a:pt x="28632" y="64782"/>
                  </a:lnTo>
                  <a:lnTo>
                    <a:pt x="20069" y="48162"/>
                  </a:lnTo>
                  <a:lnTo>
                    <a:pt x="9377" y="27807"/>
                  </a:lnTo>
                  <a:lnTo>
                    <a:pt x="0" y="4768"/>
                  </a:lnTo>
                  <a:lnTo>
                    <a:pt x="26232" y="2788"/>
                  </a:lnTo>
                  <a:lnTo>
                    <a:pt x="55546" y="0"/>
                  </a:lnTo>
                  <a:lnTo>
                    <a:pt x="53385" y="5027"/>
                  </a:lnTo>
                  <a:lnTo>
                    <a:pt x="88240" y="17493"/>
                  </a:lnTo>
                  <a:lnTo>
                    <a:pt x="140900" y="35485"/>
                  </a:lnTo>
                  <a:lnTo>
                    <a:pt x="186803" y="35302"/>
                  </a:lnTo>
                  <a:lnTo>
                    <a:pt x="205109" y="35294"/>
                  </a:lnTo>
                  <a:lnTo>
                    <a:pt x="205154" y="24764"/>
                  </a:lnTo>
                  <a:lnTo>
                    <a:pt x="245142" y="24773"/>
                  </a:lnTo>
                  <a:lnTo>
                    <a:pt x="253560" y="33823"/>
                  </a:lnTo>
                  <a:lnTo>
                    <a:pt x="265363" y="41874"/>
                  </a:lnTo>
                  <a:lnTo>
                    <a:pt x="279079" y="53047"/>
                  </a:lnTo>
                  <a:lnTo>
                    <a:pt x="286734" y="66276"/>
                  </a:lnTo>
                  <a:lnTo>
                    <a:pt x="292476" y="80154"/>
                  </a:lnTo>
                  <a:lnTo>
                    <a:pt x="304409" y="87756"/>
                  </a:lnTo>
                  <a:lnTo>
                    <a:pt x="323568" y="95296"/>
                  </a:lnTo>
                  <a:lnTo>
                    <a:pt x="338110" y="75412"/>
                  </a:lnTo>
                  <a:lnTo>
                    <a:pt x="356982" y="74926"/>
                  </a:lnTo>
                  <a:lnTo>
                    <a:pt x="373251" y="84971"/>
                  </a:lnTo>
                  <a:lnTo>
                    <a:pt x="384833" y="102167"/>
                  </a:lnTo>
                  <a:lnTo>
                    <a:pt x="392816" y="116835"/>
                  </a:lnTo>
                  <a:lnTo>
                    <a:pt x="406435" y="131051"/>
                  </a:lnTo>
                  <a:lnTo>
                    <a:pt x="411513" y="148448"/>
                  </a:lnTo>
                  <a:lnTo>
                    <a:pt x="417976" y="160091"/>
                  </a:lnTo>
                  <a:lnTo>
                    <a:pt x="435981" y="167754"/>
                  </a:lnTo>
                  <a:lnTo>
                    <a:pt x="452369" y="173185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2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337063" y="4178787"/>
              <a:ext cx="104364" cy="100649"/>
            </a:xfrm>
            <a:custGeom>
              <a:avLst/>
              <a:gdLst/>
              <a:ahLst/>
              <a:cxnLst/>
              <a:rect l="0" t="0" r="0" b="0"/>
              <a:pathLst>
                <a:path w="104364" h="100649">
                  <a:moveTo>
                    <a:pt x="45149" y="92204"/>
                  </a:moveTo>
                  <a:lnTo>
                    <a:pt x="37163" y="84842"/>
                  </a:lnTo>
                  <a:lnTo>
                    <a:pt x="26375" y="75406"/>
                  </a:lnTo>
                  <a:lnTo>
                    <a:pt x="21294" y="67515"/>
                  </a:lnTo>
                  <a:lnTo>
                    <a:pt x="11564" y="60152"/>
                  </a:lnTo>
                  <a:lnTo>
                    <a:pt x="0" y="49561"/>
                  </a:lnTo>
                  <a:lnTo>
                    <a:pt x="2563" y="45932"/>
                  </a:lnTo>
                  <a:lnTo>
                    <a:pt x="6373" y="49465"/>
                  </a:lnTo>
                  <a:lnTo>
                    <a:pt x="8121" y="47807"/>
                  </a:lnTo>
                  <a:lnTo>
                    <a:pt x="15297" y="46842"/>
                  </a:lnTo>
                  <a:lnTo>
                    <a:pt x="18188" y="41480"/>
                  </a:lnTo>
                  <a:lnTo>
                    <a:pt x="21575" y="41271"/>
                  </a:lnTo>
                  <a:lnTo>
                    <a:pt x="21084" y="29715"/>
                  </a:lnTo>
                  <a:lnTo>
                    <a:pt x="26494" y="29159"/>
                  </a:lnTo>
                  <a:lnTo>
                    <a:pt x="31308" y="29327"/>
                  </a:lnTo>
                  <a:lnTo>
                    <a:pt x="36291" y="23050"/>
                  </a:lnTo>
                  <a:lnTo>
                    <a:pt x="43100" y="27805"/>
                  </a:lnTo>
                  <a:lnTo>
                    <a:pt x="45469" y="24887"/>
                  </a:lnTo>
                  <a:lnTo>
                    <a:pt x="49722" y="22089"/>
                  </a:lnTo>
                  <a:lnTo>
                    <a:pt x="57779" y="15605"/>
                  </a:lnTo>
                  <a:lnTo>
                    <a:pt x="58163" y="10756"/>
                  </a:lnTo>
                  <a:lnTo>
                    <a:pt x="60377" y="10960"/>
                  </a:lnTo>
                  <a:lnTo>
                    <a:pt x="63339" y="5327"/>
                  </a:lnTo>
                  <a:lnTo>
                    <a:pt x="65750" y="4640"/>
                  </a:lnTo>
                  <a:lnTo>
                    <a:pt x="69685" y="8243"/>
                  </a:lnTo>
                  <a:lnTo>
                    <a:pt x="74307" y="9309"/>
                  </a:lnTo>
                  <a:lnTo>
                    <a:pt x="79408" y="6311"/>
                  </a:lnTo>
                  <a:lnTo>
                    <a:pt x="85239" y="6295"/>
                  </a:lnTo>
                  <a:lnTo>
                    <a:pt x="93252" y="3214"/>
                  </a:lnTo>
                  <a:lnTo>
                    <a:pt x="96451" y="0"/>
                  </a:lnTo>
                  <a:lnTo>
                    <a:pt x="104363" y="482"/>
                  </a:lnTo>
                  <a:lnTo>
                    <a:pt x="102378" y="2747"/>
                  </a:lnTo>
                  <a:lnTo>
                    <a:pt x="101202" y="8012"/>
                  </a:lnTo>
                  <a:lnTo>
                    <a:pt x="103557" y="16634"/>
                  </a:lnTo>
                  <a:lnTo>
                    <a:pt x="98240" y="24652"/>
                  </a:lnTo>
                  <a:lnTo>
                    <a:pt x="95762" y="34115"/>
                  </a:lnTo>
                  <a:lnTo>
                    <a:pt x="95015" y="44465"/>
                  </a:lnTo>
                  <a:lnTo>
                    <a:pt x="96254" y="50514"/>
                  </a:lnTo>
                  <a:lnTo>
                    <a:pt x="96836" y="61070"/>
                  </a:lnTo>
                  <a:lnTo>
                    <a:pt x="93309" y="63372"/>
                  </a:lnTo>
                  <a:lnTo>
                    <a:pt x="91151" y="73388"/>
                  </a:lnTo>
                  <a:lnTo>
                    <a:pt x="92738" y="79567"/>
                  </a:lnTo>
                  <a:lnTo>
                    <a:pt x="88015" y="85547"/>
                  </a:lnTo>
                  <a:lnTo>
                    <a:pt x="89089" y="91863"/>
                  </a:lnTo>
                  <a:lnTo>
                    <a:pt x="92628" y="95700"/>
                  </a:lnTo>
                  <a:lnTo>
                    <a:pt x="87101" y="100648"/>
                  </a:lnTo>
                  <a:lnTo>
                    <a:pt x="80289" y="99093"/>
                  </a:lnTo>
                  <a:lnTo>
                    <a:pt x="76463" y="94288"/>
                  </a:lnTo>
                  <a:lnTo>
                    <a:pt x="69142" y="92339"/>
                  </a:lnTo>
                  <a:lnTo>
                    <a:pt x="63835" y="95384"/>
                  </a:lnTo>
                  <a:lnTo>
                    <a:pt x="48627" y="8919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22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2445614" y="4305440"/>
              <a:ext cx="132108" cy="55579"/>
            </a:xfrm>
            <a:custGeom>
              <a:avLst/>
              <a:gdLst/>
              <a:ahLst/>
              <a:cxnLst/>
              <a:rect l="0" t="0" r="0" b="0"/>
              <a:pathLst>
                <a:path w="132108" h="55579">
                  <a:moveTo>
                    <a:pt x="117357" y="55503"/>
                  </a:moveTo>
                  <a:lnTo>
                    <a:pt x="109662" y="48809"/>
                  </a:lnTo>
                  <a:lnTo>
                    <a:pt x="104718" y="36275"/>
                  </a:lnTo>
                  <a:lnTo>
                    <a:pt x="110420" y="30068"/>
                  </a:lnTo>
                  <a:lnTo>
                    <a:pt x="104572" y="28476"/>
                  </a:lnTo>
                  <a:lnTo>
                    <a:pt x="100264" y="20794"/>
                  </a:lnTo>
                  <a:lnTo>
                    <a:pt x="88764" y="14328"/>
                  </a:lnTo>
                  <a:lnTo>
                    <a:pt x="78664" y="15811"/>
                  </a:lnTo>
                  <a:lnTo>
                    <a:pt x="73985" y="23901"/>
                  </a:lnTo>
                  <a:lnTo>
                    <a:pt x="64662" y="29740"/>
                  </a:lnTo>
                  <a:lnTo>
                    <a:pt x="59626" y="30551"/>
                  </a:lnTo>
                  <a:lnTo>
                    <a:pt x="57363" y="35386"/>
                  </a:lnTo>
                  <a:lnTo>
                    <a:pt x="68373" y="47990"/>
                  </a:lnTo>
                  <a:lnTo>
                    <a:pt x="62072" y="50956"/>
                  </a:lnTo>
                  <a:lnTo>
                    <a:pt x="58737" y="54394"/>
                  </a:lnTo>
                  <a:lnTo>
                    <a:pt x="47998" y="55578"/>
                  </a:lnTo>
                  <a:lnTo>
                    <a:pt x="44001" y="41712"/>
                  </a:lnTo>
                  <a:lnTo>
                    <a:pt x="40997" y="45660"/>
                  </a:lnTo>
                  <a:lnTo>
                    <a:pt x="33384" y="44297"/>
                  </a:lnTo>
                  <a:lnTo>
                    <a:pt x="28726" y="34953"/>
                  </a:lnTo>
                  <a:lnTo>
                    <a:pt x="19259" y="33410"/>
                  </a:lnTo>
                  <a:lnTo>
                    <a:pt x="13269" y="30691"/>
                  </a:lnTo>
                  <a:lnTo>
                    <a:pt x="3363" y="30726"/>
                  </a:lnTo>
                  <a:lnTo>
                    <a:pt x="2651" y="35769"/>
                  </a:lnTo>
                  <a:lnTo>
                    <a:pt x="0" y="32256"/>
                  </a:lnTo>
                  <a:lnTo>
                    <a:pt x="1215" y="27644"/>
                  </a:lnTo>
                  <a:lnTo>
                    <a:pt x="3140" y="22930"/>
                  </a:lnTo>
                  <a:lnTo>
                    <a:pt x="2242" y="18721"/>
                  </a:lnTo>
                  <a:lnTo>
                    <a:pt x="5692" y="15966"/>
                  </a:lnTo>
                  <a:lnTo>
                    <a:pt x="892" y="12508"/>
                  </a:lnTo>
                  <a:lnTo>
                    <a:pt x="759" y="3139"/>
                  </a:lnTo>
                  <a:lnTo>
                    <a:pt x="9685" y="1059"/>
                  </a:lnTo>
                  <a:lnTo>
                    <a:pt x="17974" y="9410"/>
                  </a:lnTo>
                  <a:lnTo>
                    <a:pt x="17501" y="14341"/>
                  </a:lnTo>
                  <a:lnTo>
                    <a:pt x="26712" y="15387"/>
                  </a:lnTo>
                  <a:lnTo>
                    <a:pt x="28891" y="13494"/>
                  </a:lnTo>
                  <a:lnTo>
                    <a:pt x="35236" y="19210"/>
                  </a:lnTo>
                  <a:lnTo>
                    <a:pt x="46592" y="17529"/>
                  </a:lnTo>
                  <a:lnTo>
                    <a:pt x="56411" y="11653"/>
                  </a:lnTo>
                  <a:lnTo>
                    <a:pt x="70430" y="6959"/>
                  </a:lnTo>
                  <a:lnTo>
                    <a:pt x="78308" y="0"/>
                  </a:lnTo>
                  <a:lnTo>
                    <a:pt x="91052" y="1366"/>
                  </a:lnTo>
                  <a:lnTo>
                    <a:pt x="90192" y="3657"/>
                  </a:lnTo>
                  <a:lnTo>
                    <a:pt x="103062" y="4452"/>
                  </a:lnTo>
                  <a:lnTo>
                    <a:pt x="113333" y="8473"/>
                  </a:lnTo>
                  <a:lnTo>
                    <a:pt x="120867" y="15474"/>
                  </a:lnTo>
                  <a:lnTo>
                    <a:pt x="129550" y="21901"/>
                  </a:lnTo>
                  <a:lnTo>
                    <a:pt x="126748" y="25301"/>
                  </a:lnTo>
                  <a:lnTo>
                    <a:pt x="132107" y="38987"/>
                  </a:lnTo>
                  <a:lnTo>
                    <a:pt x="127755" y="45889"/>
                  </a:lnTo>
                  <a:lnTo>
                    <a:pt x="120316" y="4422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23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2481504" y="4529291"/>
              <a:ext cx="294210" cy="426911"/>
            </a:xfrm>
            <a:custGeom>
              <a:avLst/>
              <a:gdLst/>
              <a:ahLst/>
              <a:cxnLst/>
              <a:rect l="0" t="0" r="0" b="0"/>
              <a:pathLst>
                <a:path w="294210" h="426911">
                  <a:moveTo>
                    <a:pt x="272849" y="408611"/>
                  </a:moveTo>
                  <a:lnTo>
                    <a:pt x="266663" y="420822"/>
                  </a:lnTo>
                  <a:lnTo>
                    <a:pt x="254795" y="426910"/>
                  </a:lnTo>
                  <a:lnTo>
                    <a:pt x="231651" y="413224"/>
                  </a:lnTo>
                  <a:lnTo>
                    <a:pt x="229647" y="403460"/>
                  </a:lnTo>
                  <a:lnTo>
                    <a:pt x="183886" y="379625"/>
                  </a:lnTo>
                  <a:lnTo>
                    <a:pt x="142491" y="353751"/>
                  </a:lnTo>
                  <a:lnTo>
                    <a:pt x="124687" y="339207"/>
                  </a:lnTo>
                  <a:lnTo>
                    <a:pt x="115124" y="319755"/>
                  </a:lnTo>
                  <a:lnTo>
                    <a:pt x="118915" y="312981"/>
                  </a:lnTo>
                  <a:lnTo>
                    <a:pt x="99365" y="282192"/>
                  </a:lnTo>
                  <a:lnTo>
                    <a:pt x="76607" y="239068"/>
                  </a:lnTo>
                  <a:lnTo>
                    <a:pt x="54798" y="192708"/>
                  </a:lnTo>
                  <a:lnTo>
                    <a:pt x="45358" y="182120"/>
                  </a:lnTo>
                  <a:lnTo>
                    <a:pt x="38095" y="165024"/>
                  </a:lnTo>
                  <a:lnTo>
                    <a:pt x="20162" y="149889"/>
                  </a:lnTo>
                  <a:lnTo>
                    <a:pt x="3715" y="140508"/>
                  </a:lnTo>
                  <a:lnTo>
                    <a:pt x="11186" y="130171"/>
                  </a:lnTo>
                  <a:lnTo>
                    <a:pt x="0" y="108096"/>
                  </a:lnTo>
                  <a:lnTo>
                    <a:pt x="7185" y="91900"/>
                  </a:lnTo>
                  <a:lnTo>
                    <a:pt x="25584" y="77302"/>
                  </a:lnTo>
                  <a:lnTo>
                    <a:pt x="28321" y="86924"/>
                  </a:lnTo>
                  <a:lnTo>
                    <a:pt x="21736" y="92429"/>
                  </a:lnTo>
                  <a:lnTo>
                    <a:pt x="22360" y="100902"/>
                  </a:lnTo>
                  <a:lnTo>
                    <a:pt x="31901" y="99061"/>
                  </a:lnTo>
                  <a:lnTo>
                    <a:pt x="41225" y="101561"/>
                  </a:lnTo>
                  <a:lnTo>
                    <a:pt x="50912" y="113241"/>
                  </a:lnTo>
                  <a:lnTo>
                    <a:pt x="63963" y="103725"/>
                  </a:lnTo>
                  <a:lnTo>
                    <a:pt x="68331" y="88124"/>
                  </a:lnTo>
                  <a:lnTo>
                    <a:pt x="82475" y="68018"/>
                  </a:lnTo>
                  <a:lnTo>
                    <a:pt x="110233" y="58908"/>
                  </a:lnTo>
                  <a:lnTo>
                    <a:pt x="135402" y="34728"/>
                  </a:lnTo>
                  <a:lnTo>
                    <a:pt x="142587" y="19718"/>
                  </a:lnTo>
                  <a:lnTo>
                    <a:pt x="139367" y="2189"/>
                  </a:lnTo>
                  <a:lnTo>
                    <a:pt x="145521" y="0"/>
                  </a:lnTo>
                  <a:lnTo>
                    <a:pt x="160871" y="10932"/>
                  </a:lnTo>
                  <a:lnTo>
                    <a:pt x="168239" y="21828"/>
                  </a:lnTo>
                  <a:lnTo>
                    <a:pt x="178924" y="27777"/>
                  </a:lnTo>
                  <a:lnTo>
                    <a:pt x="192522" y="51986"/>
                  </a:lnTo>
                  <a:lnTo>
                    <a:pt x="209710" y="54879"/>
                  </a:lnTo>
                  <a:lnTo>
                    <a:pt x="222429" y="48772"/>
                  </a:lnTo>
                  <a:lnTo>
                    <a:pt x="230765" y="52767"/>
                  </a:lnTo>
                  <a:lnTo>
                    <a:pt x="244618" y="50783"/>
                  </a:lnTo>
                  <a:lnTo>
                    <a:pt x="262294" y="61599"/>
                  </a:lnTo>
                  <a:lnTo>
                    <a:pt x="247406" y="85115"/>
                  </a:lnTo>
                  <a:lnTo>
                    <a:pt x="254300" y="85663"/>
                  </a:lnTo>
                  <a:lnTo>
                    <a:pt x="265850" y="97953"/>
                  </a:lnTo>
                  <a:lnTo>
                    <a:pt x="245050" y="96868"/>
                  </a:lnTo>
                  <a:lnTo>
                    <a:pt x="241955" y="100344"/>
                  </a:lnTo>
                  <a:lnTo>
                    <a:pt x="223037" y="104794"/>
                  </a:lnTo>
                  <a:lnTo>
                    <a:pt x="196642" y="120541"/>
                  </a:lnTo>
                  <a:lnTo>
                    <a:pt x="194966" y="131345"/>
                  </a:lnTo>
                  <a:lnTo>
                    <a:pt x="189076" y="139404"/>
                  </a:lnTo>
                  <a:lnTo>
                    <a:pt x="191377" y="151935"/>
                  </a:lnTo>
                  <a:lnTo>
                    <a:pt x="177424" y="158628"/>
                  </a:lnTo>
                  <a:lnTo>
                    <a:pt x="177449" y="168427"/>
                  </a:lnTo>
                  <a:lnTo>
                    <a:pt x="171359" y="172670"/>
                  </a:lnTo>
                  <a:lnTo>
                    <a:pt x="180965" y="193589"/>
                  </a:lnTo>
                  <a:lnTo>
                    <a:pt x="193792" y="207737"/>
                  </a:lnTo>
                  <a:lnTo>
                    <a:pt x="188914" y="217731"/>
                  </a:lnTo>
                  <a:lnTo>
                    <a:pt x="204233" y="219081"/>
                  </a:lnTo>
                  <a:lnTo>
                    <a:pt x="212962" y="231509"/>
                  </a:lnTo>
                  <a:lnTo>
                    <a:pt x="233332" y="232112"/>
                  </a:lnTo>
                  <a:lnTo>
                    <a:pt x="252272" y="218381"/>
                  </a:lnTo>
                  <a:lnTo>
                    <a:pt x="250730" y="253807"/>
                  </a:lnTo>
                  <a:lnTo>
                    <a:pt x="261231" y="256489"/>
                  </a:lnTo>
                  <a:lnTo>
                    <a:pt x="274251" y="252466"/>
                  </a:lnTo>
                  <a:lnTo>
                    <a:pt x="294209" y="290126"/>
                  </a:lnTo>
                  <a:lnTo>
                    <a:pt x="289246" y="298063"/>
                  </a:lnTo>
                  <a:lnTo>
                    <a:pt x="288111" y="314571"/>
                  </a:lnTo>
                  <a:lnTo>
                    <a:pt x="287658" y="334596"/>
                  </a:lnTo>
                  <a:lnTo>
                    <a:pt x="278641" y="346375"/>
                  </a:lnTo>
                  <a:lnTo>
                    <a:pt x="282777" y="355128"/>
                  </a:lnTo>
                  <a:lnTo>
                    <a:pt x="277481" y="363073"/>
                  </a:lnTo>
                  <a:lnTo>
                    <a:pt x="287410" y="38297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24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2913748" y="4979982"/>
              <a:ext cx="193713" cy="200169"/>
            </a:xfrm>
            <a:custGeom>
              <a:avLst/>
              <a:gdLst/>
              <a:ahLst/>
              <a:cxnLst/>
              <a:rect l="0" t="0" r="0" b="0"/>
              <a:pathLst>
                <a:path w="193713" h="200169">
                  <a:moveTo>
                    <a:pt x="0" y="70021"/>
                  </a:moveTo>
                  <a:lnTo>
                    <a:pt x="9091" y="41069"/>
                  </a:lnTo>
                  <a:lnTo>
                    <a:pt x="9674" y="28111"/>
                  </a:lnTo>
                  <a:lnTo>
                    <a:pt x="20745" y="6973"/>
                  </a:lnTo>
                  <a:lnTo>
                    <a:pt x="60972" y="0"/>
                  </a:lnTo>
                  <a:lnTo>
                    <a:pt x="82405" y="339"/>
                  </a:lnTo>
                  <a:lnTo>
                    <a:pt x="103908" y="12603"/>
                  </a:lnTo>
                  <a:lnTo>
                    <a:pt x="104302" y="20007"/>
                  </a:lnTo>
                  <a:lnTo>
                    <a:pt x="111128" y="33382"/>
                  </a:lnTo>
                  <a:lnTo>
                    <a:pt x="109594" y="66172"/>
                  </a:lnTo>
                  <a:lnTo>
                    <a:pt x="133961" y="70824"/>
                  </a:lnTo>
                  <a:lnTo>
                    <a:pt x="143383" y="66077"/>
                  </a:lnTo>
                  <a:lnTo>
                    <a:pt x="158972" y="72638"/>
                  </a:lnTo>
                  <a:lnTo>
                    <a:pt x="163295" y="79887"/>
                  </a:lnTo>
                  <a:lnTo>
                    <a:pt x="165443" y="102192"/>
                  </a:lnTo>
                  <a:lnTo>
                    <a:pt x="168141" y="111589"/>
                  </a:lnTo>
                  <a:lnTo>
                    <a:pt x="176747" y="112673"/>
                  </a:lnTo>
                  <a:lnTo>
                    <a:pt x="185405" y="108723"/>
                  </a:lnTo>
                  <a:lnTo>
                    <a:pt x="193712" y="113156"/>
                  </a:lnTo>
                  <a:lnTo>
                    <a:pt x="193700" y="126613"/>
                  </a:lnTo>
                  <a:lnTo>
                    <a:pt x="190573" y="141130"/>
                  </a:lnTo>
                  <a:lnTo>
                    <a:pt x="186041" y="155338"/>
                  </a:lnTo>
                  <a:lnTo>
                    <a:pt x="182267" y="177151"/>
                  </a:lnTo>
                  <a:lnTo>
                    <a:pt x="161329" y="196169"/>
                  </a:lnTo>
                  <a:lnTo>
                    <a:pt x="143074" y="200168"/>
                  </a:lnTo>
                  <a:lnTo>
                    <a:pt x="117151" y="196370"/>
                  </a:lnTo>
                  <a:lnTo>
                    <a:pt x="93874" y="189603"/>
                  </a:lnTo>
                  <a:lnTo>
                    <a:pt x="116599" y="151996"/>
                  </a:lnTo>
                  <a:lnTo>
                    <a:pt x="113286" y="141134"/>
                  </a:lnTo>
                  <a:lnTo>
                    <a:pt x="89512" y="131534"/>
                  </a:lnTo>
                  <a:lnTo>
                    <a:pt x="61309" y="113444"/>
                  </a:lnTo>
                  <a:lnTo>
                    <a:pt x="42437" y="10972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25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2281040" y="4192749"/>
              <a:ext cx="54754" cy="29988"/>
            </a:xfrm>
            <a:custGeom>
              <a:avLst/>
              <a:gdLst/>
              <a:ahLst/>
              <a:cxnLst/>
              <a:rect l="0" t="0" r="0" b="0"/>
              <a:pathLst>
                <a:path w="54754" h="29988">
                  <a:moveTo>
                    <a:pt x="53146" y="24458"/>
                  </a:moveTo>
                  <a:lnTo>
                    <a:pt x="50584" y="29987"/>
                  </a:lnTo>
                  <a:lnTo>
                    <a:pt x="37215" y="29637"/>
                  </a:lnTo>
                  <a:lnTo>
                    <a:pt x="28907" y="27388"/>
                  </a:lnTo>
                  <a:lnTo>
                    <a:pt x="19362" y="22718"/>
                  </a:lnTo>
                  <a:lnTo>
                    <a:pt x="6536" y="21259"/>
                  </a:lnTo>
                  <a:lnTo>
                    <a:pt x="0" y="16212"/>
                  </a:lnTo>
                  <a:lnTo>
                    <a:pt x="713" y="12763"/>
                  </a:lnTo>
                  <a:lnTo>
                    <a:pt x="8624" y="6827"/>
                  </a:lnTo>
                  <a:lnTo>
                    <a:pt x="12957" y="4224"/>
                  </a:lnTo>
                  <a:lnTo>
                    <a:pt x="11731" y="1450"/>
                  </a:lnTo>
                  <a:lnTo>
                    <a:pt x="17133" y="0"/>
                  </a:lnTo>
                  <a:lnTo>
                    <a:pt x="23938" y="1981"/>
                  </a:lnTo>
                  <a:lnTo>
                    <a:pt x="28911" y="6679"/>
                  </a:lnTo>
                  <a:lnTo>
                    <a:pt x="35878" y="10453"/>
                  </a:lnTo>
                  <a:lnTo>
                    <a:pt x="36737" y="13621"/>
                  </a:lnTo>
                  <a:lnTo>
                    <a:pt x="46863" y="10818"/>
                  </a:lnTo>
                  <a:lnTo>
                    <a:pt x="51614" y="12496"/>
                  </a:lnTo>
                  <a:lnTo>
                    <a:pt x="54753" y="1504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26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3020860" y="4388726"/>
              <a:ext cx="94331" cy="97285"/>
            </a:xfrm>
            <a:custGeom>
              <a:avLst/>
              <a:gdLst/>
              <a:ahLst/>
              <a:cxnLst/>
              <a:rect l="0" t="0" r="0" b="0"/>
              <a:pathLst>
                <a:path w="94331" h="97285">
                  <a:moveTo>
                    <a:pt x="20711" y="1208"/>
                  </a:moveTo>
                  <a:lnTo>
                    <a:pt x="48366" y="5846"/>
                  </a:lnTo>
                  <a:lnTo>
                    <a:pt x="50849" y="1672"/>
                  </a:lnTo>
                  <a:lnTo>
                    <a:pt x="69512" y="0"/>
                  </a:lnTo>
                  <a:lnTo>
                    <a:pt x="94330" y="6225"/>
                  </a:lnTo>
                  <a:lnTo>
                    <a:pt x="82314" y="26126"/>
                  </a:lnTo>
                  <a:lnTo>
                    <a:pt x="84139" y="41950"/>
                  </a:lnTo>
                  <a:lnTo>
                    <a:pt x="93202" y="55649"/>
                  </a:lnTo>
                  <a:lnTo>
                    <a:pt x="89167" y="65592"/>
                  </a:lnTo>
                  <a:lnTo>
                    <a:pt x="87137" y="76158"/>
                  </a:lnTo>
                  <a:lnTo>
                    <a:pt x="81249" y="85872"/>
                  </a:lnTo>
                  <a:lnTo>
                    <a:pt x="68027" y="80978"/>
                  </a:lnTo>
                  <a:lnTo>
                    <a:pt x="57128" y="83339"/>
                  </a:lnTo>
                  <a:lnTo>
                    <a:pt x="47812" y="81287"/>
                  </a:lnTo>
                  <a:lnTo>
                    <a:pt x="45504" y="87974"/>
                  </a:lnTo>
                  <a:lnTo>
                    <a:pt x="49376" y="92565"/>
                  </a:lnTo>
                  <a:lnTo>
                    <a:pt x="47296" y="97284"/>
                  </a:lnTo>
                  <a:lnTo>
                    <a:pt x="34746" y="95393"/>
                  </a:lnTo>
                  <a:lnTo>
                    <a:pt x="20649" y="75314"/>
                  </a:lnTo>
                  <a:lnTo>
                    <a:pt x="17618" y="62271"/>
                  </a:lnTo>
                  <a:lnTo>
                    <a:pt x="10228" y="62244"/>
                  </a:lnTo>
                  <a:lnTo>
                    <a:pt x="0" y="45459"/>
                  </a:lnTo>
                  <a:lnTo>
                    <a:pt x="4258" y="33528"/>
                  </a:lnTo>
                  <a:lnTo>
                    <a:pt x="3010" y="28073"/>
                  </a:lnTo>
                  <a:lnTo>
                    <a:pt x="17022" y="2203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7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2930715" y="4275626"/>
              <a:ext cx="24353" cy="20765"/>
            </a:xfrm>
            <a:custGeom>
              <a:avLst/>
              <a:gdLst/>
              <a:ahLst/>
              <a:cxnLst/>
              <a:rect l="0" t="0" r="0" b="0"/>
              <a:pathLst>
                <a:path w="24353" h="20765">
                  <a:moveTo>
                    <a:pt x="6232" y="3035"/>
                  </a:moveTo>
                  <a:lnTo>
                    <a:pt x="19505" y="0"/>
                  </a:lnTo>
                  <a:lnTo>
                    <a:pt x="24352" y="817"/>
                  </a:lnTo>
                  <a:lnTo>
                    <a:pt x="23429" y="18200"/>
                  </a:lnTo>
                  <a:lnTo>
                    <a:pt x="4155" y="20764"/>
                  </a:lnTo>
                  <a:lnTo>
                    <a:pt x="0" y="18666"/>
                  </a:lnTo>
                  <a:lnTo>
                    <a:pt x="6694" y="1225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28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3012033" y="5244410"/>
              <a:ext cx="120435" cy="124438"/>
            </a:xfrm>
            <a:custGeom>
              <a:avLst/>
              <a:gdLst/>
              <a:ahLst/>
              <a:cxnLst/>
              <a:rect l="0" t="0" r="0" b="0"/>
              <a:pathLst>
                <a:path w="120435" h="124438">
                  <a:moveTo>
                    <a:pt x="18511" y="2696"/>
                  </a:moveTo>
                  <a:lnTo>
                    <a:pt x="33494" y="0"/>
                  </a:lnTo>
                  <a:lnTo>
                    <a:pt x="56641" y="19602"/>
                  </a:lnTo>
                  <a:lnTo>
                    <a:pt x="65222" y="18861"/>
                  </a:lnTo>
                  <a:lnTo>
                    <a:pt x="88975" y="35169"/>
                  </a:lnTo>
                  <a:lnTo>
                    <a:pt x="107084" y="49294"/>
                  </a:lnTo>
                  <a:lnTo>
                    <a:pt x="120434" y="66756"/>
                  </a:lnTo>
                  <a:lnTo>
                    <a:pt x="110255" y="78977"/>
                  </a:lnTo>
                  <a:lnTo>
                    <a:pt x="116647" y="93622"/>
                  </a:lnTo>
                  <a:lnTo>
                    <a:pt x="106657" y="109941"/>
                  </a:lnTo>
                  <a:lnTo>
                    <a:pt x="80587" y="124437"/>
                  </a:lnTo>
                  <a:lnTo>
                    <a:pt x="63547" y="119215"/>
                  </a:lnTo>
                  <a:lnTo>
                    <a:pt x="51054" y="122013"/>
                  </a:lnTo>
                  <a:lnTo>
                    <a:pt x="29717" y="110817"/>
                  </a:lnTo>
                  <a:lnTo>
                    <a:pt x="14063" y="111653"/>
                  </a:lnTo>
                  <a:lnTo>
                    <a:pt x="0" y="97279"/>
                  </a:lnTo>
                  <a:lnTo>
                    <a:pt x="1788" y="80556"/>
                  </a:lnTo>
                  <a:lnTo>
                    <a:pt x="6796" y="74813"/>
                  </a:lnTo>
                  <a:lnTo>
                    <a:pt x="6570" y="49224"/>
                  </a:lnTo>
                  <a:lnTo>
                    <a:pt x="12745" y="2299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29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395288" y="2512021"/>
              <a:ext cx="2451383" cy="1597290"/>
            </a:xfrm>
            <a:custGeom>
              <a:avLst/>
              <a:gdLst/>
              <a:ahLst/>
              <a:cxnLst/>
              <a:rect l="l" t="t" r="r" b="b"/>
              <a:pathLst>
                <a:path w="2451383" h="1597290">
                  <a:moveTo>
                    <a:pt x="2416535" y="1583598"/>
                  </a:moveTo>
                  <a:lnTo>
                    <a:pt x="2435423" y="1583737"/>
                  </a:lnTo>
                  <a:lnTo>
                    <a:pt x="2447221" y="1585840"/>
                  </a:lnTo>
                  <a:lnTo>
                    <a:pt x="2451383" y="1590580"/>
                  </a:lnTo>
                  <a:lnTo>
                    <a:pt x="2445470" y="1596590"/>
                  </a:lnTo>
                  <a:lnTo>
                    <a:pt x="2428094" y="1596449"/>
                  </a:lnTo>
                  <a:lnTo>
                    <a:pt x="2414608" y="1597290"/>
                  </a:lnTo>
                  <a:lnTo>
                    <a:pt x="2413263" y="1587086"/>
                  </a:lnTo>
                  <a:close/>
                  <a:moveTo>
                    <a:pt x="367708" y="1541755"/>
                  </a:moveTo>
                  <a:lnTo>
                    <a:pt x="369463" y="1542200"/>
                  </a:lnTo>
                  <a:lnTo>
                    <a:pt x="378301" y="1546260"/>
                  </a:lnTo>
                  <a:lnTo>
                    <a:pt x="382401" y="1548343"/>
                  </a:lnTo>
                  <a:lnTo>
                    <a:pt x="386147" y="1551558"/>
                  </a:lnTo>
                  <a:lnTo>
                    <a:pt x="392029" y="1559961"/>
                  </a:lnTo>
                  <a:lnTo>
                    <a:pt x="391474" y="1561289"/>
                  </a:lnTo>
                  <a:lnTo>
                    <a:pt x="382455" y="1566404"/>
                  </a:lnTo>
                  <a:lnTo>
                    <a:pt x="375070" y="1570144"/>
                  </a:lnTo>
                  <a:lnTo>
                    <a:pt x="371699" y="1574145"/>
                  </a:lnTo>
                  <a:lnTo>
                    <a:pt x="365963" y="1570720"/>
                  </a:lnTo>
                  <a:lnTo>
                    <a:pt x="366623" y="1564030"/>
                  </a:lnTo>
                  <a:lnTo>
                    <a:pt x="362805" y="1555304"/>
                  </a:lnTo>
                  <a:lnTo>
                    <a:pt x="363954" y="1552635"/>
                  </a:lnTo>
                  <a:lnTo>
                    <a:pt x="367962" y="1548720"/>
                  </a:lnTo>
                  <a:lnTo>
                    <a:pt x="366369" y="1543997"/>
                  </a:lnTo>
                  <a:close/>
                  <a:moveTo>
                    <a:pt x="350361" y="1523812"/>
                  </a:moveTo>
                  <a:lnTo>
                    <a:pt x="358566" y="1526104"/>
                  </a:lnTo>
                  <a:lnTo>
                    <a:pt x="364601" y="1529800"/>
                  </a:lnTo>
                  <a:lnTo>
                    <a:pt x="362672" y="1532692"/>
                  </a:lnTo>
                  <a:lnTo>
                    <a:pt x="354934" y="1534414"/>
                  </a:lnTo>
                  <a:lnTo>
                    <a:pt x="350958" y="1529343"/>
                  </a:lnTo>
                  <a:lnTo>
                    <a:pt x="348305" y="1527385"/>
                  </a:lnTo>
                  <a:lnTo>
                    <a:pt x="348099" y="1525879"/>
                  </a:lnTo>
                  <a:close/>
                  <a:moveTo>
                    <a:pt x="335641" y="1518816"/>
                  </a:moveTo>
                  <a:lnTo>
                    <a:pt x="346999" y="1519848"/>
                  </a:lnTo>
                  <a:lnTo>
                    <a:pt x="346281" y="1522456"/>
                  </a:lnTo>
                  <a:lnTo>
                    <a:pt x="333912" y="1521755"/>
                  </a:lnTo>
                  <a:close/>
                  <a:moveTo>
                    <a:pt x="317754" y="1506800"/>
                  </a:moveTo>
                  <a:lnTo>
                    <a:pt x="319683" y="1508353"/>
                  </a:lnTo>
                  <a:lnTo>
                    <a:pt x="326349" y="1516340"/>
                  </a:lnTo>
                  <a:lnTo>
                    <a:pt x="325098" y="1517734"/>
                  </a:lnTo>
                  <a:lnTo>
                    <a:pt x="323446" y="1517424"/>
                  </a:lnTo>
                  <a:lnTo>
                    <a:pt x="315412" y="1516575"/>
                  </a:lnTo>
                  <a:lnTo>
                    <a:pt x="312477" y="1511098"/>
                  </a:lnTo>
                  <a:lnTo>
                    <a:pt x="311580" y="1510132"/>
                  </a:lnTo>
                  <a:close/>
                  <a:moveTo>
                    <a:pt x="281491" y="1494228"/>
                  </a:moveTo>
                  <a:lnTo>
                    <a:pt x="286812" y="1494742"/>
                  </a:lnTo>
                  <a:lnTo>
                    <a:pt x="287287" y="1500386"/>
                  </a:lnTo>
                  <a:lnTo>
                    <a:pt x="284549" y="1502783"/>
                  </a:lnTo>
                  <a:lnTo>
                    <a:pt x="276775" y="1498368"/>
                  </a:lnTo>
                  <a:lnTo>
                    <a:pt x="277969" y="1496602"/>
                  </a:lnTo>
                  <a:close/>
                  <a:moveTo>
                    <a:pt x="1776755" y="773070"/>
                  </a:moveTo>
                  <a:lnTo>
                    <a:pt x="1780854" y="789445"/>
                  </a:lnTo>
                  <a:lnTo>
                    <a:pt x="1788030" y="794473"/>
                  </a:lnTo>
                  <a:lnTo>
                    <a:pt x="1804148" y="796297"/>
                  </a:lnTo>
                  <a:lnTo>
                    <a:pt x="1827712" y="801015"/>
                  </a:lnTo>
                  <a:lnTo>
                    <a:pt x="1850102" y="810176"/>
                  </a:lnTo>
                  <a:lnTo>
                    <a:pt x="1868799" y="806338"/>
                  </a:lnTo>
                  <a:lnTo>
                    <a:pt x="1897191" y="814008"/>
                  </a:lnTo>
                  <a:lnTo>
                    <a:pt x="1904741" y="813719"/>
                  </a:lnTo>
                  <a:lnTo>
                    <a:pt x="1925395" y="805365"/>
                  </a:lnTo>
                  <a:lnTo>
                    <a:pt x="1947054" y="816069"/>
                  </a:lnTo>
                  <a:lnTo>
                    <a:pt x="1969624" y="827426"/>
                  </a:lnTo>
                  <a:lnTo>
                    <a:pt x="1988313" y="837172"/>
                  </a:lnTo>
                  <a:lnTo>
                    <a:pt x="2006231" y="846505"/>
                  </a:lnTo>
                  <a:lnTo>
                    <a:pt x="2008467" y="854148"/>
                  </a:lnTo>
                  <a:lnTo>
                    <a:pt x="2013903" y="857002"/>
                  </a:lnTo>
                  <a:lnTo>
                    <a:pt x="2012491" y="859873"/>
                  </a:lnTo>
                  <a:lnTo>
                    <a:pt x="2018682" y="860766"/>
                  </a:lnTo>
                  <a:lnTo>
                    <a:pt x="2023173" y="857769"/>
                  </a:lnTo>
                  <a:lnTo>
                    <a:pt x="2024333" y="864624"/>
                  </a:lnTo>
                  <a:lnTo>
                    <a:pt x="2028975" y="869202"/>
                  </a:lnTo>
                  <a:lnTo>
                    <a:pt x="2035314" y="869202"/>
                  </a:lnTo>
                  <a:lnTo>
                    <a:pt x="2038698" y="872728"/>
                  </a:lnTo>
                  <a:lnTo>
                    <a:pt x="2035852" y="877848"/>
                  </a:lnTo>
                  <a:lnTo>
                    <a:pt x="2059902" y="891321"/>
                  </a:lnTo>
                  <a:lnTo>
                    <a:pt x="2064823" y="917186"/>
                  </a:lnTo>
                  <a:lnTo>
                    <a:pt x="2069442" y="941733"/>
                  </a:lnTo>
                  <a:lnTo>
                    <a:pt x="2062693" y="958312"/>
                  </a:lnTo>
                  <a:lnTo>
                    <a:pt x="2051845" y="973656"/>
                  </a:lnTo>
                  <a:lnTo>
                    <a:pt x="2046766" y="983378"/>
                  </a:lnTo>
                  <a:lnTo>
                    <a:pt x="2046259" y="986270"/>
                  </a:lnTo>
                  <a:lnTo>
                    <a:pt x="2048848" y="990226"/>
                  </a:lnTo>
                  <a:lnTo>
                    <a:pt x="2056690" y="994586"/>
                  </a:lnTo>
                  <a:lnTo>
                    <a:pt x="2062479" y="994586"/>
                  </a:lnTo>
                  <a:lnTo>
                    <a:pt x="2089291" y="979798"/>
                  </a:lnTo>
                  <a:lnTo>
                    <a:pt x="2113073" y="975430"/>
                  </a:lnTo>
                  <a:lnTo>
                    <a:pt x="2143267" y="961566"/>
                  </a:lnTo>
                  <a:lnTo>
                    <a:pt x="2143714" y="958732"/>
                  </a:lnTo>
                  <a:lnTo>
                    <a:pt x="2141636" y="950190"/>
                  </a:lnTo>
                  <a:lnTo>
                    <a:pt x="2137904" y="944678"/>
                  </a:lnTo>
                  <a:lnTo>
                    <a:pt x="2148324" y="940213"/>
                  </a:lnTo>
                  <a:lnTo>
                    <a:pt x="2171000" y="940102"/>
                  </a:lnTo>
                  <a:lnTo>
                    <a:pt x="2192186" y="940109"/>
                  </a:lnTo>
                  <a:lnTo>
                    <a:pt x="2199574" y="929121"/>
                  </a:lnTo>
                  <a:lnTo>
                    <a:pt x="2202459" y="926920"/>
                  </a:lnTo>
                  <a:lnTo>
                    <a:pt x="2226853" y="906486"/>
                  </a:lnTo>
                  <a:lnTo>
                    <a:pt x="2237268" y="901239"/>
                  </a:lnTo>
                  <a:lnTo>
                    <a:pt x="2272334" y="901043"/>
                  </a:lnTo>
                  <a:lnTo>
                    <a:pt x="2314870" y="901019"/>
                  </a:lnTo>
                  <a:lnTo>
                    <a:pt x="2317180" y="893968"/>
                  </a:lnTo>
                  <a:lnTo>
                    <a:pt x="2324570" y="892531"/>
                  </a:lnTo>
                  <a:lnTo>
                    <a:pt x="2334377" y="888098"/>
                  </a:lnTo>
                  <a:lnTo>
                    <a:pt x="2342571" y="875024"/>
                  </a:lnTo>
                  <a:lnTo>
                    <a:pt x="2349612" y="852523"/>
                  </a:lnTo>
                  <a:lnTo>
                    <a:pt x="2367218" y="830518"/>
                  </a:lnTo>
                  <a:lnTo>
                    <a:pt x="2374887" y="838200"/>
                  </a:lnTo>
                  <a:lnTo>
                    <a:pt x="2390365" y="833237"/>
                  </a:lnTo>
                  <a:lnTo>
                    <a:pt x="2400613" y="841661"/>
                  </a:lnTo>
                  <a:lnTo>
                    <a:pt x="2400593" y="881129"/>
                  </a:lnTo>
                  <a:lnTo>
                    <a:pt x="2415687" y="897326"/>
                  </a:lnTo>
                  <a:lnTo>
                    <a:pt x="2419675" y="906678"/>
                  </a:lnTo>
                  <a:lnTo>
                    <a:pt x="2395026" y="920441"/>
                  </a:lnTo>
                  <a:lnTo>
                    <a:pt x="2371309" y="930207"/>
                  </a:lnTo>
                  <a:lnTo>
                    <a:pt x="2346930" y="938553"/>
                  </a:lnTo>
                  <a:lnTo>
                    <a:pt x="2334712" y="955227"/>
                  </a:lnTo>
                  <a:lnTo>
                    <a:pt x="2330801" y="961519"/>
                  </a:lnTo>
                  <a:lnTo>
                    <a:pt x="2330568" y="976298"/>
                  </a:lnTo>
                  <a:lnTo>
                    <a:pt x="2338185" y="990995"/>
                  </a:lnTo>
                  <a:lnTo>
                    <a:pt x="2347765" y="991687"/>
                  </a:lnTo>
                  <a:lnTo>
                    <a:pt x="2345341" y="981575"/>
                  </a:lnTo>
                  <a:lnTo>
                    <a:pt x="2352266" y="987734"/>
                  </a:lnTo>
                  <a:lnTo>
                    <a:pt x="2350418" y="995634"/>
                  </a:lnTo>
                  <a:lnTo>
                    <a:pt x="2334838" y="1000110"/>
                  </a:lnTo>
                  <a:lnTo>
                    <a:pt x="2323750" y="999574"/>
                  </a:lnTo>
                  <a:lnTo>
                    <a:pt x="2306677" y="1004382"/>
                  </a:lnTo>
                  <a:lnTo>
                    <a:pt x="2296636" y="1005759"/>
                  </a:lnTo>
                  <a:lnTo>
                    <a:pt x="2283216" y="1007117"/>
                  </a:lnTo>
                  <a:lnTo>
                    <a:pt x="2263974" y="1015074"/>
                  </a:lnTo>
                  <a:lnTo>
                    <a:pt x="2297877" y="1009899"/>
                  </a:lnTo>
                  <a:lnTo>
                    <a:pt x="2304715" y="1015104"/>
                  </a:lnTo>
                  <a:lnTo>
                    <a:pt x="2272400" y="1023326"/>
                  </a:lnTo>
                  <a:lnTo>
                    <a:pt x="2257696" y="1023380"/>
                  </a:lnTo>
                  <a:lnTo>
                    <a:pt x="2258381" y="1020019"/>
                  </a:lnTo>
                  <a:lnTo>
                    <a:pt x="2251355" y="1027606"/>
                  </a:lnTo>
                  <a:lnTo>
                    <a:pt x="2258148" y="1028860"/>
                  </a:lnTo>
                  <a:lnTo>
                    <a:pt x="2253163" y="1048425"/>
                  </a:lnTo>
                  <a:lnTo>
                    <a:pt x="2236367" y="1069254"/>
                  </a:lnTo>
                  <a:lnTo>
                    <a:pt x="2234650" y="1062318"/>
                  </a:lnTo>
                  <a:lnTo>
                    <a:pt x="2229581" y="1060911"/>
                  </a:lnTo>
                  <a:lnTo>
                    <a:pt x="2222009" y="1054141"/>
                  </a:lnTo>
                  <a:lnTo>
                    <a:pt x="2226811" y="1068702"/>
                  </a:lnTo>
                  <a:lnTo>
                    <a:pt x="2232540" y="1073499"/>
                  </a:lnTo>
                  <a:lnTo>
                    <a:pt x="2232888" y="1083662"/>
                  </a:lnTo>
                  <a:lnTo>
                    <a:pt x="2225485" y="1094080"/>
                  </a:lnTo>
                  <a:lnTo>
                    <a:pt x="2212495" y="1115387"/>
                  </a:lnTo>
                  <a:lnTo>
                    <a:pt x="2210393" y="1114331"/>
                  </a:lnTo>
                  <a:lnTo>
                    <a:pt x="2217531" y="1096180"/>
                  </a:lnTo>
                  <a:lnTo>
                    <a:pt x="2205740" y="1085942"/>
                  </a:lnTo>
                  <a:lnTo>
                    <a:pt x="2203036" y="1063572"/>
                  </a:lnTo>
                  <a:lnTo>
                    <a:pt x="2198588" y="1075234"/>
                  </a:lnTo>
                  <a:lnTo>
                    <a:pt x="2203513" y="1092267"/>
                  </a:lnTo>
                  <a:lnTo>
                    <a:pt x="2188263" y="1088067"/>
                  </a:lnTo>
                  <a:lnTo>
                    <a:pt x="2204153" y="1096691"/>
                  </a:lnTo>
                  <a:lnTo>
                    <a:pt x="2205143" y="1122041"/>
                  </a:lnTo>
                  <a:lnTo>
                    <a:pt x="2211766" y="1123876"/>
                  </a:lnTo>
                  <a:lnTo>
                    <a:pt x="2214161" y="1133042"/>
                  </a:lnTo>
                  <a:lnTo>
                    <a:pt x="2217405" y="1159407"/>
                  </a:lnTo>
                  <a:lnTo>
                    <a:pt x="2202732" y="1178836"/>
                  </a:lnTo>
                  <a:lnTo>
                    <a:pt x="2178854" y="1186569"/>
                  </a:lnTo>
                  <a:lnTo>
                    <a:pt x="2163681" y="1201815"/>
                  </a:lnTo>
                  <a:lnTo>
                    <a:pt x="2152154" y="1203478"/>
                  </a:lnTo>
                  <a:lnTo>
                    <a:pt x="2140467" y="1212991"/>
                  </a:lnTo>
                  <a:lnTo>
                    <a:pt x="2137168" y="1221658"/>
                  </a:lnTo>
                  <a:lnTo>
                    <a:pt x="2111829" y="1238365"/>
                  </a:lnTo>
                  <a:lnTo>
                    <a:pt x="2098818" y="1250572"/>
                  </a:lnTo>
                  <a:lnTo>
                    <a:pt x="2087939" y="1265718"/>
                  </a:lnTo>
                  <a:lnTo>
                    <a:pt x="2084382" y="1283795"/>
                  </a:lnTo>
                  <a:lnTo>
                    <a:pt x="2088460" y="1301384"/>
                  </a:lnTo>
                  <a:lnTo>
                    <a:pt x="2096163" y="1322949"/>
                  </a:lnTo>
                  <a:lnTo>
                    <a:pt x="2106422" y="1340707"/>
                  </a:lnTo>
                  <a:lnTo>
                    <a:pt x="2106551" y="1351512"/>
                  </a:lnTo>
                  <a:lnTo>
                    <a:pt x="2117479" y="1380385"/>
                  </a:lnTo>
                  <a:lnTo>
                    <a:pt x="2116753" y="1397082"/>
                  </a:lnTo>
                  <a:lnTo>
                    <a:pt x="2115748" y="1406687"/>
                  </a:lnTo>
                  <a:lnTo>
                    <a:pt x="2109989" y="1421726"/>
                  </a:lnTo>
                  <a:lnTo>
                    <a:pt x="2103088" y="1424827"/>
                  </a:lnTo>
                  <a:lnTo>
                    <a:pt x="2091729" y="1421846"/>
                  </a:lnTo>
                  <a:lnTo>
                    <a:pt x="2088084" y="1411046"/>
                  </a:lnTo>
                  <a:lnTo>
                    <a:pt x="2079313" y="1405374"/>
                  </a:lnTo>
                  <a:lnTo>
                    <a:pt x="2067079" y="1384105"/>
                  </a:lnTo>
                  <a:lnTo>
                    <a:pt x="2056342" y="1365100"/>
                  </a:lnTo>
                  <a:lnTo>
                    <a:pt x="2052877" y="1355350"/>
                  </a:lnTo>
                  <a:lnTo>
                    <a:pt x="2057615" y="1338757"/>
                  </a:lnTo>
                  <a:lnTo>
                    <a:pt x="2051152" y="1324959"/>
                  </a:lnTo>
                  <a:lnTo>
                    <a:pt x="2033157" y="1303884"/>
                  </a:lnTo>
                  <a:lnTo>
                    <a:pt x="2024146" y="1300007"/>
                  </a:lnTo>
                  <a:lnTo>
                    <a:pt x="2000859" y="1311465"/>
                  </a:lnTo>
                  <a:lnTo>
                    <a:pt x="1996727" y="1310205"/>
                  </a:lnTo>
                  <a:lnTo>
                    <a:pt x="1985526" y="1298424"/>
                  </a:lnTo>
                  <a:lnTo>
                    <a:pt x="1971055" y="1292162"/>
                  </a:lnTo>
                  <a:lnTo>
                    <a:pt x="1944964" y="1295344"/>
                  </a:lnTo>
                  <a:lnTo>
                    <a:pt x="1924479" y="1292545"/>
                  </a:lnTo>
                  <a:lnTo>
                    <a:pt x="1906874" y="1294290"/>
                  </a:lnTo>
                  <a:lnTo>
                    <a:pt x="1897333" y="1298237"/>
                  </a:lnTo>
                  <a:lnTo>
                    <a:pt x="1901490" y="1304954"/>
                  </a:lnTo>
                  <a:lnTo>
                    <a:pt x="1901115" y="1315182"/>
                  </a:lnTo>
                  <a:lnTo>
                    <a:pt x="1906016" y="1320155"/>
                  </a:lnTo>
                  <a:lnTo>
                    <a:pt x="1901617" y="1323461"/>
                  </a:lnTo>
                  <a:lnTo>
                    <a:pt x="1893052" y="1319751"/>
                  </a:lnTo>
                  <a:lnTo>
                    <a:pt x="1884388" y="1324521"/>
                  </a:lnTo>
                  <a:lnTo>
                    <a:pt x="1867640" y="1323740"/>
                  </a:lnTo>
                  <a:lnTo>
                    <a:pt x="1850407" y="1310435"/>
                  </a:lnTo>
                  <a:lnTo>
                    <a:pt x="1830273" y="1313578"/>
                  </a:lnTo>
                  <a:lnTo>
                    <a:pt x="1813484" y="1307742"/>
                  </a:lnTo>
                  <a:lnTo>
                    <a:pt x="1799126" y="1309511"/>
                  </a:lnTo>
                  <a:lnTo>
                    <a:pt x="1779700" y="1315399"/>
                  </a:lnTo>
                  <a:lnTo>
                    <a:pt x="1758689" y="1334030"/>
                  </a:lnTo>
                  <a:lnTo>
                    <a:pt x="1735750" y="1344827"/>
                  </a:lnTo>
                  <a:lnTo>
                    <a:pt x="1723147" y="1356753"/>
                  </a:lnTo>
                  <a:lnTo>
                    <a:pt x="1717838" y="1367963"/>
                  </a:lnTo>
                  <a:lnTo>
                    <a:pt x="1717608" y="1385096"/>
                  </a:lnTo>
                  <a:lnTo>
                    <a:pt x="1718761" y="1396977"/>
                  </a:lnTo>
                  <a:lnTo>
                    <a:pt x="1723147" y="1405374"/>
                  </a:lnTo>
                  <a:lnTo>
                    <a:pt x="1714145" y="1406114"/>
                  </a:lnTo>
                  <a:lnTo>
                    <a:pt x="1697757" y="1400683"/>
                  </a:lnTo>
                  <a:lnTo>
                    <a:pt x="1679752" y="1393020"/>
                  </a:lnTo>
                  <a:lnTo>
                    <a:pt x="1673289" y="1381377"/>
                  </a:lnTo>
                  <a:lnTo>
                    <a:pt x="1668211" y="1363980"/>
                  </a:lnTo>
                  <a:lnTo>
                    <a:pt x="1654592" y="1349764"/>
                  </a:lnTo>
                  <a:lnTo>
                    <a:pt x="1646609" y="1335096"/>
                  </a:lnTo>
                  <a:lnTo>
                    <a:pt x="1635027" y="1317900"/>
                  </a:lnTo>
                  <a:lnTo>
                    <a:pt x="1618758" y="1307855"/>
                  </a:lnTo>
                  <a:lnTo>
                    <a:pt x="1599886" y="1308341"/>
                  </a:lnTo>
                  <a:lnTo>
                    <a:pt x="1585344" y="1328225"/>
                  </a:lnTo>
                  <a:lnTo>
                    <a:pt x="1566185" y="1320685"/>
                  </a:lnTo>
                  <a:lnTo>
                    <a:pt x="1554252" y="1313083"/>
                  </a:lnTo>
                  <a:lnTo>
                    <a:pt x="1548510" y="1299205"/>
                  </a:lnTo>
                  <a:lnTo>
                    <a:pt x="1540855" y="1285976"/>
                  </a:lnTo>
                  <a:lnTo>
                    <a:pt x="1527139" y="1274803"/>
                  </a:lnTo>
                  <a:lnTo>
                    <a:pt x="1515336" y="1266752"/>
                  </a:lnTo>
                  <a:lnTo>
                    <a:pt x="1506918" y="1257702"/>
                  </a:lnTo>
                  <a:lnTo>
                    <a:pt x="1466930" y="1257693"/>
                  </a:lnTo>
                  <a:lnTo>
                    <a:pt x="1466885" y="1268223"/>
                  </a:lnTo>
                  <a:lnTo>
                    <a:pt x="1448579" y="1268231"/>
                  </a:lnTo>
                  <a:lnTo>
                    <a:pt x="1402676" y="1268414"/>
                  </a:lnTo>
                  <a:lnTo>
                    <a:pt x="1350016" y="1250422"/>
                  </a:lnTo>
                  <a:lnTo>
                    <a:pt x="1315161" y="1237956"/>
                  </a:lnTo>
                  <a:lnTo>
                    <a:pt x="1317322" y="1232929"/>
                  </a:lnTo>
                  <a:lnTo>
                    <a:pt x="1288008" y="1235717"/>
                  </a:lnTo>
                  <a:lnTo>
                    <a:pt x="1261776" y="1237697"/>
                  </a:lnTo>
                  <a:lnTo>
                    <a:pt x="1257894" y="1224550"/>
                  </a:lnTo>
                  <a:lnTo>
                    <a:pt x="1242935" y="1209698"/>
                  </a:lnTo>
                  <a:lnTo>
                    <a:pt x="1232165" y="1206599"/>
                  </a:lnTo>
                  <a:lnTo>
                    <a:pt x="1229642" y="1199160"/>
                  </a:lnTo>
                  <a:lnTo>
                    <a:pt x="1216690" y="1197856"/>
                  </a:lnTo>
                  <a:lnTo>
                    <a:pt x="1208430" y="1190826"/>
                  </a:lnTo>
                  <a:lnTo>
                    <a:pt x="1186988" y="1188259"/>
                  </a:lnTo>
                  <a:lnTo>
                    <a:pt x="1181100" y="1184053"/>
                  </a:lnTo>
                  <a:lnTo>
                    <a:pt x="1178296" y="1169731"/>
                  </a:lnTo>
                  <a:lnTo>
                    <a:pt x="1155900" y="1143336"/>
                  </a:lnTo>
                  <a:lnTo>
                    <a:pt x="1136675" y="1106470"/>
                  </a:lnTo>
                  <a:lnTo>
                    <a:pt x="1137493" y="1100287"/>
                  </a:lnTo>
                  <a:lnTo>
                    <a:pt x="1127310" y="1091451"/>
                  </a:lnTo>
                  <a:lnTo>
                    <a:pt x="1109444" y="1068926"/>
                  </a:lnTo>
                  <a:lnTo>
                    <a:pt x="1106259" y="1046857"/>
                  </a:lnTo>
                  <a:lnTo>
                    <a:pt x="1093958" y="1031985"/>
                  </a:lnTo>
                  <a:lnTo>
                    <a:pt x="1099018" y="1009280"/>
                  </a:lnTo>
                  <a:lnTo>
                    <a:pt x="1098214" y="985606"/>
                  </a:lnTo>
                  <a:lnTo>
                    <a:pt x="1090847" y="964292"/>
                  </a:lnTo>
                  <a:lnTo>
                    <a:pt x="1099866" y="937868"/>
                  </a:lnTo>
                  <a:lnTo>
                    <a:pt x="1102673" y="912191"/>
                  </a:lnTo>
                  <a:lnTo>
                    <a:pt x="1105480" y="886279"/>
                  </a:lnTo>
                  <a:lnTo>
                    <a:pt x="1101308" y="847533"/>
                  </a:lnTo>
                  <a:lnTo>
                    <a:pt x="1094014" y="822532"/>
                  </a:lnTo>
                  <a:lnTo>
                    <a:pt x="1087284" y="808865"/>
                  </a:lnTo>
                  <a:lnTo>
                    <a:pt x="1090079" y="803095"/>
                  </a:lnTo>
                  <a:lnTo>
                    <a:pt x="1123459" y="813124"/>
                  </a:lnTo>
                  <a:lnTo>
                    <a:pt x="1135754" y="840797"/>
                  </a:lnTo>
                  <a:lnTo>
                    <a:pt x="1141464" y="833087"/>
                  </a:lnTo>
                  <a:lnTo>
                    <a:pt x="1137771" y="808995"/>
                  </a:lnTo>
                  <a:lnTo>
                    <a:pt x="1129923" y="784684"/>
                  </a:lnTo>
                  <a:lnTo>
                    <a:pt x="1195477" y="784684"/>
                  </a:lnTo>
                  <a:lnTo>
                    <a:pt x="1264005" y="784684"/>
                  </a:lnTo>
                  <a:lnTo>
                    <a:pt x="1286696" y="784684"/>
                  </a:lnTo>
                  <a:lnTo>
                    <a:pt x="1357056" y="784684"/>
                  </a:lnTo>
                  <a:lnTo>
                    <a:pt x="1425150" y="784684"/>
                  </a:lnTo>
                  <a:lnTo>
                    <a:pt x="1494398" y="784684"/>
                  </a:lnTo>
                  <a:lnTo>
                    <a:pt x="1563686" y="784688"/>
                  </a:lnTo>
                  <a:lnTo>
                    <a:pt x="1642127" y="784684"/>
                  </a:lnTo>
                  <a:lnTo>
                    <a:pt x="1721099" y="784663"/>
                  </a:lnTo>
                  <a:lnTo>
                    <a:pt x="1768873" y="784684"/>
                  </a:lnTo>
                  <a:lnTo>
                    <a:pt x="1768941" y="773213"/>
                  </a:lnTo>
                  <a:close/>
                  <a:moveTo>
                    <a:pt x="428469" y="502080"/>
                  </a:moveTo>
                  <a:lnTo>
                    <a:pt x="443795" y="504339"/>
                  </a:lnTo>
                  <a:lnTo>
                    <a:pt x="453574" y="514689"/>
                  </a:lnTo>
                  <a:lnTo>
                    <a:pt x="433603" y="530447"/>
                  </a:lnTo>
                  <a:lnTo>
                    <a:pt x="410549" y="543008"/>
                  </a:lnTo>
                  <a:lnTo>
                    <a:pt x="398746" y="534511"/>
                  </a:lnTo>
                  <a:lnTo>
                    <a:pt x="395178" y="519006"/>
                  </a:lnTo>
                  <a:lnTo>
                    <a:pt x="416142" y="507173"/>
                  </a:lnTo>
                  <a:close/>
                  <a:moveTo>
                    <a:pt x="122876" y="419796"/>
                  </a:moveTo>
                  <a:lnTo>
                    <a:pt x="141189" y="422937"/>
                  </a:lnTo>
                  <a:lnTo>
                    <a:pt x="143388" y="436191"/>
                  </a:lnTo>
                  <a:lnTo>
                    <a:pt x="129225" y="441543"/>
                  </a:lnTo>
                  <a:lnTo>
                    <a:pt x="114092" y="435109"/>
                  </a:lnTo>
                  <a:lnTo>
                    <a:pt x="100083" y="425726"/>
                  </a:lnTo>
                  <a:close/>
                  <a:moveTo>
                    <a:pt x="1372" y="298556"/>
                  </a:moveTo>
                  <a:lnTo>
                    <a:pt x="15619" y="305529"/>
                  </a:lnTo>
                  <a:lnTo>
                    <a:pt x="30007" y="301766"/>
                  </a:lnTo>
                  <a:lnTo>
                    <a:pt x="48672" y="311413"/>
                  </a:lnTo>
                  <a:lnTo>
                    <a:pt x="71595" y="316282"/>
                  </a:lnTo>
                  <a:lnTo>
                    <a:pt x="69690" y="320242"/>
                  </a:lnTo>
                  <a:lnTo>
                    <a:pt x="52205" y="327917"/>
                  </a:lnTo>
                  <a:lnTo>
                    <a:pt x="34637" y="320030"/>
                  </a:lnTo>
                  <a:lnTo>
                    <a:pt x="25846" y="313429"/>
                  </a:lnTo>
                  <a:lnTo>
                    <a:pt x="5495" y="315543"/>
                  </a:lnTo>
                  <a:lnTo>
                    <a:pt x="0" y="312335"/>
                  </a:lnTo>
                  <a:close/>
                  <a:moveTo>
                    <a:pt x="351094" y="0"/>
                  </a:moveTo>
                  <a:lnTo>
                    <a:pt x="386019" y="8900"/>
                  </a:lnTo>
                  <a:lnTo>
                    <a:pt x="402722" y="27896"/>
                  </a:lnTo>
                  <a:lnTo>
                    <a:pt x="412974" y="19771"/>
                  </a:lnTo>
                  <a:lnTo>
                    <a:pt x="451984" y="22293"/>
                  </a:lnTo>
                  <a:lnTo>
                    <a:pt x="450599" y="31930"/>
                  </a:lnTo>
                  <a:lnTo>
                    <a:pt x="485916" y="39023"/>
                  </a:lnTo>
                  <a:lnTo>
                    <a:pt x="509460" y="34853"/>
                  </a:lnTo>
                  <a:lnTo>
                    <a:pt x="558087" y="47998"/>
                  </a:lnTo>
                  <a:lnTo>
                    <a:pt x="602484" y="51892"/>
                  </a:lnTo>
                  <a:lnTo>
                    <a:pt x="620257" y="57266"/>
                  </a:lnTo>
                  <a:lnTo>
                    <a:pt x="650970" y="50547"/>
                  </a:lnTo>
                  <a:lnTo>
                    <a:pt x="685985" y="62955"/>
                  </a:lnTo>
                  <a:lnTo>
                    <a:pt x="711065" y="68706"/>
                  </a:lnTo>
                  <a:lnTo>
                    <a:pt x="710914" y="215563"/>
                  </a:lnTo>
                  <a:lnTo>
                    <a:pt x="710793" y="422493"/>
                  </a:lnTo>
                  <a:lnTo>
                    <a:pt x="733524" y="423518"/>
                  </a:lnTo>
                  <a:lnTo>
                    <a:pt x="756006" y="433088"/>
                  </a:lnTo>
                  <a:lnTo>
                    <a:pt x="772120" y="448143"/>
                  </a:lnTo>
                  <a:lnTo>
                    <a:pt x="792627" y="470546"/>
                  </a:lnTo>
                  <a:lnTo>
                    <a:pt x="815081" y="451506"/>
                  </a:lnTo>
                  <a:lnTo>
                    <a:pt x="838254" y="440397"/>
                  </a:lnTo>
                  <a:lnTo>
                    <a:pt x="850507" y="458111"/>
                  </a:lnTo>
                  <a:lnTo>
                    <a:pt x="866062" y="472035"/>
                  </a:lnTo>
                  <a:lnTo>
                    <a:pt x="887196" y="487267"/>
                  </a:lnTo>
                  <a:lnTo>
                    <a:pt x="901625" y="511298"/>
                  </a:lnTo>
                  <a:lnTo>
                    <a:pt x="925230" y="549001"/>
                  </a:lnTo>
                  <a:lnTo>
                    <a:pt x="964471" y="569767"/>
                  </a:lnTo>
                  <a:lnTo>
                    <a:pt x="965112" y="590176"/>
                  </a:lnTo>
                  <a:lnTo>
                    <a:pt x="952276" y="605660"/>
                  </a:lnTo>
                  <a:lnTo>
                    <a:pt x="939587" y="593591"/>
                  </a:lnTo>
                  <a:lnTo>
                    <a:pt x="919242" y="583312"/>
                  </a:lnTo>
                  <a:lnTo>
                    <a:pt x="912714" y="554963"/>
                  </a:lnTo>
                  <a:lnTo>
                    <a:pt x="882957" y="528362"/>
                  </a:lnTo>
                  <a:lnTo>
                    <a:pt x="870518" y="496919"/>
                  </a:lnTo>
                  <a:lnTo>
                    <a:pt x="848355" y="494750"/>
                  </a:lnTo>
                  <a:lnTo>
                    <a:pt x="811657" y="493928"/>
                  </a:lnTo>
                  <a:lnTo>
                    <a:pt x="784605" y="484244"/>
                  </a:lnTo>
                  <a:lnTo>
                    <a:pt x="736876" y="448977"/>
                  </a:lnTo>
                  <a:lnTo>
                    <a:pt x="714774" y="442468"/>
                  </a:lnTo>
                  <a:lnTo>
                    <a:pt x="674399" y="430173"/>
                  </a:lnTo>
                  <a:lnTo>
                    <a:pt x="642442" y="433117"/>
                  </a:lnTo>
                  <a:lnTo>
                    <a:pt x="597046" y="417211"/>
                  </a:lnTo>
                  <a:lnTo>
                    <a:pt x="569605" y="402359"/>
                  </a:lnTo>
                  <a:lnTo>
                    <a:pt x="543985" y="409750"/>
                  </a:lnTo>
                  <a:lnTo>
                    <a:pt x="548745" y="433836"/>
                  </a:lnTo>
                  <a:lnTo>
                    <a:pt x="535986" y="436047"/>
                  </a:lnTo>
                  <a:lnTo>
                    <a:pt x="509279" y="443219"/>
                  </a:lnTo>
                  <a:lnTo>
                    <a:pt x="488957" y="454777"/>
                  </a:lnTo>
                  <a:lnTo>
                    <a:pt x="463378" y="462021"/>
                  </a:lnTo>
                  <a:lnTo>
                    <a:pt x="460076" y="441868"/>
                  </a:lnTo>
                  <a:lnTo>
                    <a:pt x="470457" y="407908"/>
                  </a:lnTo>
                  <a:lnTo>
                    <a:pt x="494989" y="397143"/>
                  </a:lnTo>
                  <a:lnTo>
                    <a:pt x="488660" y="388331"/>
                  </a:lnTo>
                  <a:lnTo>
                    <a:pt x="459236" y="407860"/>
                  </a:lnTo>
                  <a:lnTo>
                    <a:pt x="443482" y="430960"/>
                  </a:lnTo>
                  <a:lnTo>
                    <a:pt x="410224" y="455390"/>
                  </a:lnTo>
                  <a:lnTo>
                    <a:pt x="427113" y="471912"/>
                  </a:lnTo>
                  <a:lnTo>
                    <a:pt x="405300" y="496137"/>
                  </a:lnTo>
                  <a:lnTo>
                    <a:pt x="380486" y="510135"/>
                  </a:lnTo>
                  <a:lnTo>
                    <a:pt x="357384" y="520281"/>
                  </a:lnTo>
                  <a:lnTo>
                    <a:pt x="351665" y="534932"/>
                  </a:lnTo>
                  <a:lnTo>
                    <a:pt x="315630" y="551900"/>
                  </a:lnTo>
                  <a:lnTo>
                    <a:pt x="308334" y="567221"/>
                  </a:lnTo>
                  <a:lnTo>
                    <a:pt x="281326" y="581085"/>
                  </a:lnTo>
                  <a:lnTo>
                    <a:pt x="265483" y="578597"/>
                  </a:lnTo>
                  <a:lnTo>
                    <a:pt x="243939" y="587606"/>
                  </a:lnTo>
                  <a:lnTo>
                    <a:pt x="220517" y="598563"/>
                  </a:lnTo>
                  <a:lnTo>
                    <a:pt x="201319" y="609274"/>
                  </a:lnTo>
                  <a:lnTo>
                    <a:pt x="161707" y="618382"/>
                  </a:lnTo>
                  <a:lnTo>
                    <a:pt x="158091" y="613026"/>
                  </a:lnTo>
                  <a:lnTo>
                    <a:pt x="183340" y="598073"/>
                  </a:lnTo>
                  <a:lnTo>
                    <a:pt x="205923" y="588144"/>
                  </a:lnTo>
                  <a:lnTo>
                    <a:pt x="230525" y="570444"/>
                  </a:lnTo>
                  <a:lnTo>
                    <a:pt x="259161" y="566769"/>
                  </a:lnTo>
                  <a:lnTo>
                    <a:pt x="270542" y="553391"/>
                  </a:lnTo>
                  <a:lnTo>
                    <a:pt x="302537" y="533721"/>
                  </a:lnTo>
                  <a:lnTo>
                    <a:pt x="307693" y="527104"/>
                  </a:lnTo>
                  <a:lnTo>
                    <a:pt x="324735" y="515390"/>
                  </a:lnTo>
                  <a:lnTo>
                    <a:pt x="328716" y="490026"/>
                  </a:lnTo>
                  <a:lnTo>
                    <a:pt x="340456" y="470075"/>
                  </a:lnTo>
                  <a:lnTo>
                    <a:pt x="313841" y="480336"/>
                  </a:lnTo>
                  <a:lnTo>
                    <a:pt x="306397" y="474520"/>
                  </a:lnTo>
                  <a:lnTo>
                    <a:pt x="293900" y="486799"/>
                  </a:lnTo>
                  <a:lnTo>
                    <a:pt x="278826" y="469651"/>
                  </a:lnTo>
                  <a:lnTo>
                    <a:pt x="272602" y="481797"/>
                  </a:lnTo>
                  <a:lnTo>
                    <a:pt x="263970" y="464904"/>
                  </a:lnTo>
                  <a:lnTo>
                    <a:pt x="240893" y="478476"/>
                  </a:lnTo>
                  <a:lnTo>
                    <a:pt x="226723" y="478448"/>
                  </a:lnTo>
                  <a:lnTo>
                    <a:pt x="224736" y="458235"/>
                  </a:lnTo>
                  <a:lnTo>
                    <a:pt x="228909" y="445691"/>
                  </a:lnTo>
                  <a:lnTo>
                    <a:pt x="214047" y="433443"/>
                  </a:lnTo>
                  <a:lnTo>
                    <a:pt x="184033" y="440044"/>
                  </a:lnTo>
                  <a:lnTo>
                    <a:pt x="164554" y="423842"/>
                  </a:lnTo>
                  <a:lnTo>
                    <a:pt x="148761" y="415512"/>
                  </a:lnTo>
                  <a:lnTo>
                    <a:pt x="148659" y="395729"/>
                  </a:lnTo>
                  <a:lnTo>
                    <a:pt x="130872" y="380728"/>
                  </a:lnTo>
                  <a:lnTo>
                    <a:pt x="139804" y="360321"/>
                  </a:lnTo>
                  <a:lnTo>
                    <a:pt x="158622" y="340329"/>
                  </a:lnTo>
                  <a:lnTo>
                    <a:pt x="166855" y="321775"/>
                  </a:lnTo>
                  <a:lnTo>
                    <a:pt x="185534" y="319121"/>
                  </a:lnTo>
                  <a:lnTo>
                    <a:pt x="201370" y="324928"/>
                  </a:lnTo>
                  <a:lnTo>
                    <a:pt x="219991" y="307367"/>
                  </a:lnTo>
                  <a:lnTo>
                    <a:pt x="236751" y="310512"/>
                  </a:lnTo>
                  <a:lnTo>
                    <a:pt x="254339" y="299158"/>
                  </a:lnTo>
                  <a:lnTo>
                    <a:pt x="250050" y="282336"/>
                  </a:lnTo>
                  <a:lnTo>
                    <a:pt x="237129" y="275669"/>
                  </a:lnTo>
                  <a:lnTo>
                    <a:pt x="254217" y="261308"/>
                  </a:lnTo>
                  <a:lnTo>
                    <a:pt x="240041" y="261732"/>
                  </a:lnTo>
                  <a:lnTo>
                    <a:pt x="215547" y="269850"/>
                  </a:lnTo>
                  <a:lnTo>
                    <a:pt x="208513" y="278049"/>
                  </a:lnTo>
                  <a:lnTo>
                    <a:pt x="190310" y="269860"/>
                  </a:lnTo>
                  <a:lnTo>
                    <a:pt x="157661" y="274031"/>
                  </a:lnTo>
                  <a:lnTo>
                    <a:pt x="123857" y="265112"/>
                  </a:lnTo>
                  <a:lnTo>
                    <a:pt x="114169" y="250061"/>
                  </a:lnTo>
                  <a:lnTo>
                    <a:pt x="84957" y="228125"/>
                  </a:lnTo>
                  <a:lnTo>
                    <a:pt x="117395" y="212189"/>
                  </a:lnTo>
                  <a:lnTo>
                    <a:pt x="168882" y="193430"/>
                  </a:lnTo>
                  <a:lnTo>
                    <a:pt x="187861" y="193430"/>
                  </a:lnTo>
                  <a:lnTo>
                    <a:pt x="184719" y="212614"/>
                  </a:lnTo>
                  <a:lnTo>
                    <a:pt x="233443" y="211126"/>
                  </a:lnTo>
                  <a:lnTo>
                    <a:pt x="214701" y="187289"/>
                  </a:lnTo>
                  <a:lnTo>
                    <a:pt x="186309" y="172496"/>
                  </a:lnTo>
                  <a:lnTo>
                    <a:pt x="169891" y="152913"/>
                  </a:lnTo>
                  <a:lnTo>
                    <a:pt x="147748" y="136060"/>
                  </a:lnTo>
                  <a:lnTo>
                    <a:pt x="116029" y="123476"/>
                  </a:lnTo>
                  <a:lnTo>
                    <a:pt x="128949" y="102436"/>
                  </a:lnTo>
                  <a:lnTo>
                    <a:pt x="169895" y="101124"/>
                  </a:lnTo>
                  <a:lnTo>
                    <a:pt x="199030" y="82645"/>
                  </a:lnTo>
                  <a:lnTo>
                    <a:pt x="204525" y="62703"/>
                  </a:lnTo>
                  <a:lnTo>
                    <a:pt x="228108" y="43045"/>
                  </a:lnTo>
                  <a:lnTo>
                    <a:pt x="250593" y="38286"/>
                  </a:lnTo>
                  <a:lnTo>
                    <a:pt x="294349" y="19702"/>
                  </a:lnTo>
                  <a:lnTo>
                    <a:pt x="315572" y="22514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30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2668612" y="4245873"/>
              <a:ext cx="312694" cy="265376"/>
            </a:xfrm>
            <a:custGeom>
              <a:avLst/>
              <a:gdLst/>
              <a:ahLst/>
              <a:cxnLst/>
              <a:rect l="0" t="0" r="0" b="0"/>
              <a:pathLst>
                <a:path w="312694" h="265376">
                  <a:moveTo>
                    <a:pt x="45551" y="9036"/>
                  </a:moveTo>
                  <a:lnTo>
                    <a:pt x="44894" y="14563"/>
                  </a:lnTo>
                  <a:lnTo>
                    <a:pt x="31344" y="17292"/>
                  </a:lnTo>
                  <a:lnTo>
                    <a:pt x="38873" y="27897"/>
                  </a:lnTo>
                  <a:lnTo>
                    <a:pt x="38592" y="40105"/>
                  </a:lnTo>
                  <a:lnTo>
                    <a:pt x="28410" y="53648"/>
                  </a:lnTo>
                  <a:lnTo>
                    <a:pt x="37147" y="72123"/>
                  </a:lnTo>
                  <a:lnTo>
                    <a:pt x="47098" y="70612"/>
                  </a:lnTo>
                  <a:lnTo>
                    <a:pt x="52281" y="53780"/>
                  </a:lnTo>
                  <a:lnTo>
                    <a:pt x="45124" y="45576"/>
                  </a:lnTo>
                  <a:lnTo>
                    <a:pt x="43957" y="27909"/>
                  </a:lnTo>
                  <a:lnTo>
                    <a:pt x="72702" y="18410"/>
                  </a:lnTo>
                  <a:lnTo>
                    <a:pt x="69504" y="7386"/>
                  </a:lnTo>
                  <a:lnTo>
                    <a:pt x="77597" y="0"/>
                  </a:lnTo>
                  <a:lnTo>
                    <a:pt x="85883" y="16443"/>
                  </a:lnTo>
                  <a:lnTo>
                    <a:pt x="102071" y="16823"/>
                  </a:lnTo>
                  <a:lnTo>
                    <a:pt x="117068" y="29852"/>
                  </a:lnTo>
                  <a:lnTo>
                    <a:pt x="117971" y="37581"/>
                  </a:lnTo>
                  <a:lnTo>
                    <a:pt x="138697" y="37786"/>
                  </a:lnTo>
                  <a:lnTo>
                    <a:pt x="163358" y="35388"/>
                  </a:lnTo>
                  <a:lnTo>
                    <a:pt x="176576" y="45836"/>
                  </a:lnTo>
                  <a:lnTo>
                    <a:pt x="194229" y="48717"/>
                  </a:lnTo>
                  <a:lnTo>
                    <a:pt x="207178" y="41432"/>
                  </a:lnTo>
                  <a:lnTo>
                    <a:pt x="207443" y="35556"/>
                  </a:lnTo>
                  <a:lnTo>
                    <a:pt x="236035" y="34149"/>
                  </a:lnTo>
                  <a:lnTo>
                    <a:pt x="263697" y="33824"/>
                  </a:lnTo>
                  <a:lnTo>
                    <a:pt x="244095" y="40717"/>
                  </a:lnTo>
                  <a:lnTo>
                    <a:pt x="251981" y="51724"/>
                  </a:lnTo>
                  <a:lnTo>
                    <a:pt x="270441" y="53475"/>
                  </a:lnTo>
                  <a:lnTo>
                    <a:pt x="287942" y="64929"/>
                  </a:lnTo>
                  <a:lnTo>
                    <a:pt x="291620" y="83569"/>
                  </a:lnTo>
                  <a:lnTo>
                    <a:pt x="303649" y="83044"/>
                  </a:lnTo>
                  <a:lnTo>
                    <a:pt x="312693" y="88523"/>
                  </a:lnTo>
                  <a:lnTo>
                    <a:pt x="294405" y="102169"/>
                  </a:lnTo>
                  <a:lnTo>
                    <a:pt x="292388" y="110633"/>
                  </a:lnTo>
                  <a:lnTo>
                    <a:pt x="300289" y="119242"/>
                  </a:lnTo>
                  <a:lnTo>
                    <a:pt x="294557" y="123587"/>
                  </a:lnTo>
                  <a:lnTo>
                    <a:pt x="280353" y="127309"/>
                  </a:lnTo>
                  <a:lnTo>
                    <a:pt x="280813" y="138011"/>
                  </a:lnTo>
                  <a:lnTo>
                    <a:pt x="274560" y="144387"/>
                  </a:lnTo>
                  <a:lnTo>
                    <a:pt x="290181" y="161956"/>
                  </a:lnTo>
                  <a:lnTo>
                    <a:pt x="293237" y="168485"/>
                  </a:lnTo>
                  <a:lnTo>
                    <a:pt x="284796" y="177314"/>
                  </a:lnTo>
                  <a:lnTo>
                    <a:pt x="258977" y="185970"/>
                  </a:lnTo>
                  <a:lnTo>
                    <a:pt x="242378" y="189558"/>
                  </a:lnTo>
                  <a:lnTo>
                    <a:pt x="235715" y="195023"/>
                  </a:lnTo>
                  <a:lnTo>
                    <a:pt x="217360" y="189244"/>
                  </a:lnTo>
                  <a:lnTo>
                    <a:pt x="200272" y="186286"/>
                  </a:lnTo>
                  <a:lnTo>
                    <a:pt x="195946" y="188414"/>
                  </a:lnTo>
                  <a:lnTo>
                    <a:pt x="206277" y="194407"/>
                  </a:lnTo>
                  <a:lnTo>
                    <a:pt x="205346" y="209900"/>
                  </a:lnTo>
                  <a:lnTo>
                    <a:pt x="208551" y="224448"/>
                  </a:lnTo>
                  <a:lnTo>
                    <a:pt x="228105" y="226433"/>
                  </a:lnTo>
                  <a:lnTo>
                    <a:pt x="229353" y="231287"/>
                  </a:lnTo>
                  <a:lnTo>
                    <a:pt x="212865" y="237857"/>
                  </a:lnTo>
                  <a:lnTo>
                    <a:pt x="210183" y="247636"/>
                  </a:lnTo>
                  <a:lnTo>
                    <a:pt x="200679" y="251425"/>
                  </a:lnTo>
                  <a:lnTo>
                    <a:pt x="183513" y="256815"/>
                  </a:lnTo>
                  <a:lnTo>
                    <a:pt x="179045" y="263879"/>
                  </a:lnTo>
                  <a:lnTo>
                    <a:pt x="161098" y="265375"/>
                  </a:lnTo>
                  <a:lnTo>
                    <a:pt x="148390" y="253165"/>
                  </a:lnTo>
                  <a:lnTo>
                    <a:pt x="141350" y="230138"/>
                  </a:lnTo>
                  <a:lnTo>
                    <a:pt x="135215" y="222063"/>
                  </a:lnTo>
                  <a:lnTo>
                    <a:pt x="126840" y="216972"/>
                  </a:lnTo>
                  <a:lnTo>
                    <a:pt x="138537" y="205471"/>
                  </a:lnTo>
                  <a:lnTo>
                    <a:pt x="137743" y="200297"/>
                  </a:lnTo>
                  <a:lnTo>
                    <a:pt x="131181" y="193430"/>
                  </a:lnTo>
                  <a:lnTo>
                    <a:pt x="126538" y="178066"/>
                  </a:lnTo>
                  <a:lnTo>
                    <a:pt x="128346" y="161473"/>
                  </a:lnTo>
                  <a:lnTo>
                    <a:pt x="133497" y="153701"/>
                  </a:lnTo>
                  <a:lnTo>
                    <a:pt x="137654" y="141228"/>
                  </a:lnTo>
                  <a:lnTo>
                    <a:pt x="129491" y="137246"/>
                  </a:lnTo>
                  <a:lnTo>
                    <a:pt x="116334" y="139889"/>
                  </a:lnTo>
                  <a:lnTo>
                    <a:pt x="99709" y="138648"/>
                  </a:lnTo>
                  <a:lnTo>
                    <a:pt x="90379" y="141126"/>
                  </a:lnTo>
                  <a:lnTo>
                    <a:pt x="74133" y="121180"/>
                  </a:lnTo>
                  <a:lnTo>
                    <a:pt x="60724" y="118225"/>
                  </a:lnTo>
                  <a:lnTo>
                    <a:pt x="31041" y="120455"/>
                  </a:lnTo>
                  <a:lnTo>
                    <a:pt x="25543" y="112363"/>
                  </a:lnTo>
                  <a:lnTo>
                    <a:pt x="19862" y="110429"/>
                  </a:lnTo>
                  <a:lnTo>
                    <a:pt x="19050" y="105585"/>
                  </a:lnTo>
                  <a:lnTo>
                    <a:pt x="21791" y="96990"/>
                  </a:lnTo>
                  <a:lnTo>
                    <a:pt x="19968" y="87635"/>
                  </a:lnTo>
                  <a:lnTo>
                    <a:pt x="14876" y="82520"/>
                  </a:lnTo>
                  <a:lnTo>
                    <a:pt x="11916" y="71826"/>
                  </a:lnTo>
                  <a:lnTo>
                    <a:pt x="0" y="70268"/>
                  </a:lnTo>
                  <a:lnTo>
                    <a:pt x="6402" y="56651"/>
                  </a:lnTo>
                  <a:lnTo>
                    <a:pt x="9225" y="40015"/>
                  </a:lnTo>
                  <a:lnTo>
                    <a:pt x="15934" y="31342"/>
                  </a:lnTo>
                  <a:lnTo>
                    <a:pt x="24869" y="24645"/>
                  </a:lnTo>
                  <a:lnTo>
                    <a:pt x="30724" y="1295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31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547425" y="3022083"/>
              <a:ext cx="106181" cy="95686"/>
            </a:xfrm>
            <a:custGeom>
              <a:avLst/>
              <a:gdLst>
                <a:gd name="connsiteX0" fmla="*/ 98815 w 106181"/>
                <a:gd name="connsiteY0" fmla="*/ 53343 h 95686"/>
                <a:gd name="connsiteX1" fmla="*/ 106181 w 106181"/>
                <a:gd name="connsiteY1" fmla="*/ 69623 h 95686"/>
                <a:gd name="connsiteX2" fmla="*/ 92331 w 106181"/>
                <a:gd name="connsiteY2" fmla="*/ 95686 h 95686"/>
                <a:gd name="connsiteX3" fmla="*/ 68176 w 106181"/>
                <a:gd name="connsiteY3" fmla="*/ 77541 h 95686"/>
                <a:gd name="connsiteX4" fmla="*/ 64953 w 106181"/>
                <a:gd name="connsiteY4" fmla="*/ 64117 h 95686"/>
                <a:gd name="connsiteX5" fmla="*/ 57476 w 106181"/>
                <a:gd name="connsiteY5" fmla="*/ 0 h 95686"/>
                <a:gd name="connsiteX6" fmla="*/ 56694 w 106181"/>
                <a:gd name="connsiteY6" fmla="*/ 17082 h 95686"/>
                <a:gd name="connsiteX7" fmla="*/ 49859 w 106181"/>
                <a:gd name="connsiteY7" fmla="*/ 27836 h 95686"/>
                <a:gd name="connsiteX8" fmla="*/ 52629 w 106181"/>
                <a:gd name="connsiteY8" fmla="*/ 37042 h 95686"/>
                <a:gd name="connsiteX9" fmla="*/ 65144 w 106181"/>
                <a:gd name="connsiteY9" fmla="*/ 42003 h 95686"/>
                <a:gd name="connsiteX10" fmla="*/ 59503 w 106181"/>
                <a:gd name="connsiteY10" fmla="*/ 54321 h 95686"/>
                <a:gd name="connsiteX11" fmla="*/ 52629 w 106181"/>
                <a:gd name="connsiteY11" fmla="*/ 50781 h 95686"/>
                <a:gd name="connsiteX12" fmla="*/ 36009 w 106181"/>
                <a:gd name="connsiteY12" fmla="*/ 74148 h 95686"/>
                <a:gd name="connsiteX13" fmla="*/ 42286 w 106181"/>
                <a:gd name="connsiteY13" fmla="*/ 89820 h 95686"/>
                <a:gd name="connsiteX14" fmla="*/ 27516 w 106181"/>
                <a:gd name="connsiteY14" fmla="*/ 94699 h 95686"/>
                <a:gd name="connsiteX15" fmla="*/ 10070 w 106181"/>
                <a:gd name="connsiteY15" fmla="*/ 90473 h 95686"/>
                <a:gd name="connsiteX16" fmla="*/ 700 w 106181"/>
                <a:gd name="connsiteY16" fmla="*/ 72606 h 95686"/>
                <a:gd name="connsiteX17" fmla="*/ 0 w 106181"/>
                <a:gd name="connsiteY17" fmla="*/ 39337 h 95686"/>
                <a:gd name="connsiteX18" fmla="*/ 3846 w 106181"/>
                <a:gd name="connsiteY18" fmla="*/ 30471 h 95686"/>
                <a:gd name="connsiteX19" fmla="*/ 10467 w 106181"/>
                <a:gd name="connsiteY19" fmla="*/ 20578 h 95686"/>
                <a:gd name="connsiteX20" fmla="*/ 30803 w 106181"/>
                <a:gd name="connsiteY20" fmla="*/ 18527 h 95686"/>
                <a:gd name="connsiteX21" fmla="*/ 38907 w 106181"/>
                <a:gd name="connsiteY21" fmla="*/ 9385 h 95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181" h="95686">
                  <a:moveTo>
                    <a:pt x="98815" y="53343"/>
                  </a:moveTo>
                  <a:lnTo>
                    <a:pt x="106181" y="69623"/>
                  </a:lnTo>
                  <a:lnTo>
                    <a:pt x="92331" y="95686"/>
                  </a:lnTo>
                  <a:lnTo>
                    <a:pt x="68176" y="77541"/>
                  </a:lnTo>
                  <a:lnTo>
                    <a:pt x="64953" y="64117"/>
                  </a:lnTo>
                  <a:close/>
                  <a:moveTo>
                    <a:pt x="57476" y="0"/>
                  </a:moveTo>
                  <a:lnTo>
                    <a:pt x="56694" y="17082"/>
                  </a:lnTo>
                  <a:lnTo>
                    <a:pt x="49859" y="27836"/>
                  </a:lnTo>
                  <a:lnTo>
                    <a:pt x="52629" y="37042"/>
                  </a:lnTo>
                  <a:lnTo>
                    <a:pt x="65144" y="42003"/>
                  </a:lnTo>
                  <a:lnTo>
                    <a:pt x="59503" y="54321"/>
                  </a:lnTo>
                  <a:lnTo>
                    <a:pt x="52629" y="50781"/>
                  </a:lnTo>
                  <a:lnTo>
                    <a:pt x="36009" y="74148"/>
                  </a:lnTo>
                  <a:lnTo>
                    <a:pt x="42286" y="89820"/>
                  </a:lnTo>
                  <a:lnTo>
                    <a:pt x="27516" y="94699"/>
                  </a:lnTo>
                  <a:lnTo>
                    <a:pt x="10070" y="90473"/>
                  </a:lnTo>
                  <a:lnTo>
                    <a:pt x="700" y="72606"/>
                  </a:lnTo>
                  <a:lnTo>
                    <a:pt x="0" y="39337"/>
                  </a:lnTo>
                  <a:lnTo>
                    <a:pt x="3846" y="30471"/>
                  </a:lnTo>
                  <a:lnTo>
                    <a:pt x="10467" y="20578"/>
                  </a:lnTo>
                  <a:lnTo>
                    <a:pt x="30803" y="18527"/>
                  </a:lnTo>
                  <a:lnTo>
                    <a:pt x="38907" y="938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32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185901" y="2991710"/>
              <a:ext cx="213600" cy="276243"/>
            </a:xfrm>
            <a:custGeom>
              <a:avLst/>
              <a:gdLst>
                <a:gd name="connsiteX0" fmla="*/ 19350 w 213600"/>
                <a:gd name="connsiteY0" fmla="*/ 114098 h 276243"/>
                <a:gd name="connsiteX1" fmla="*/ 44092 w 213600"/>
                <a:gd name="connsiteY1" fmla="*/ 133901 h 276243"/>
                <a:gd name="connsiteX2" fmla="*/ 31722 w 213600"/>
                <a:gd name="connsiteY2" fmla="*/ 155717 h 276243"/>
                <a:gd name="connsiteX3" fmla="*/ 14275 w 213600"/>
                <a:gd name="connsiteY3" fmla="*/ 149192 h 276243"/>
                <a:gd name="connsiteX4" fmla="*/ 0 w 213600"/>
                <a:gd name="connsiteY4" fmla="*/ 149628 h 276243"/>
                <a:gd name="connsiteX5" fmla="*/ 4758 w 213600"/>
                <a:gd name="connsiteY5" fmla="*/ 132586 h 276243"/>
                <a:gd name="connsiteX6" fmla="*/ 0 w 213600"/>
                <a:gd name="connsiteY6" fmla="*/ 115424 h 276243"/>
                <a:gd name="connsiteX7" fmla="*/ 105422 w 213600"/>
                <a:gd name="connsiteY7" fmla="*/ 0 h 276243"/>
                <a:gd name="connsiteX8" fmla="*/ 80751 w 213600"/>
                <a:gd name="connsiteY8" fmla="*/ 36267 h 276243"/>
                <a:gd name="connsiteX9" fmla="*/ 104268 w 213600"/>
                <a:gd name="connsiteY9" fmla="*/ 31707 h 276243"/>
                <a:gd name="connsiteX10" fmla="*/ 129560 w 213600"/>
                <a:gd name="connsiteY10" fmla="*/ 31881 h 276243"/>
                <a:gd name="connsiteX11" fmla="*/ 123542 w 213600"/>
                <a:gd name="connsiteY11" fmla="*/ 58869 h 276243"/>
                <a:gd name="connsiteX12" fmla="*/ 102791 w 213600"/>
                <a:gd name="connsiteY12" fmla="*/ 88196 h 276243"/>
                <a:gd name="connsiteX13" fmla="*/ 126658 w 213600"/>
                <a:gd name="connsiteY13" fmla="*/ 90270 h 276243"/>
                <a:gd name="connsiteX14" fmla="*/ 128489 w 213600"/>
                <a:gd name="connsiteY14" fmla="*/ 93682 h 276243"/>
                <a:gd name="connsiteX15" fmla="*/ 149048 w 213600"/>
                <a:gd name="connsiteY15" fmla="*/ 131655 h 276243"/>
                <a:gd name="connsiteX16" fmla="*/ 164849 w 213600"/>
                <a:gd name="connsiteY16" fmla="*/ 136778 h 276243"/>
                <a:gd name="connsiteX17" fmla="*/ 179055 w 213600"/>
                <a:gd name="connsiteY17" fmla="*/ 172807 h 276243"/>
                <a:gd name="connsiteX18" fmla="*/ 185634 w 213600"/>
                <a:gd name="connsiteY18" fmla="*/ 185174 h 276243"/>
                <a:gd name="connsiteX19" fmla="*/ 213600 w 213600"/>
                <a:gd name="connsiteY19" fmla="*/ 191116 h 276243"/>
                <a:gd name="connsiteX20" fmla="*/ 210794 w 213600"/>
                <a:gd name="connsiteY20" fmla="*/ 210960 h 276243"/>
                <a:gd name="connsiteX21" fmla="*/ 199035 w 213600"/>
                <a:gd name="connsiteY21" fmla="*/ 220006 h 276243"/>
                <a:gd name="connsiteX22" fmla="*/ 208252 w 213600"/>
                <a:gd name="connsiteY22" fmla="*/ 235886 h 276243"/>
                <a:gd name="connsiteX23" fmla="*/ 187489 w 213600"/>
                <a:gd name="connsiteY23" fmla="*/ 251860 h 276243"/>
                <a:gd name="connsiteX24" fmla="*/ 156608 w 213600"/>
                <a:gd name="connsiteY24" fmla="*/ 251579 h 276243"/>
                <a:gd name="connsiteX25" fmla="*/ 117310 w 213600"/>
                <a:gd name="connsiteY25" fmla="*/ 259927 h 276243"/>
                <a:gd name="connsiteX26" fmla="*/ 106547 w 213600"/>
                <a:gd name="connsiteY26" fmla="*/ 253953 h 276243"/>
                <a:gd name="connsiteX27" fmla="*/ 91285 w 213600"/>
                <a:gd name="connsiteY27" fmla="*/ 268149 h 276243"/>
                <a:gd name="connsiteX28" fmla="*/ 69932 w 213600"/>
                <a:gd name="connsiteY28" fmla="*/ 264717 h 276243"/>
                <a:gd name="connsiteX29" fmla="*/ 53716 w 213600"/>
                <a:gd name="connsiteY29" fmla="*/ 276243 h 276243"/>
                <a:gd name="connsiteX30" fmla="*/ 41447 w 213600"/>
                <a:gd name="connsiteY30" fmla="*/ 270223 h 276243"/>
                <a:gd name="connsiteX31" fmla="*/ 75299 w 213600"/>
                <a:gd name="connsiteY31" fmla="*/ 238316 h 276243"/>
                <a:gd name="connsiteX32" fmla="*/ 95962 w 213600"/>
                <a:gd name="connsiteY32" fmla="*/ 231704 h 276243"/>
                <a:gd name="connsiteX33" fmla="*/ 95780 w 213600"/>
                <a:gd name="connsiteY33" fmla="*/ 231678 h 276243"/>
                <a:gd name="connsiteX34" fmla="*/ 59733 w 213600"/>
                <a:gd name="connsiteY34" fmla="*/ 226566 h 276243"/>
                <a:gd name="connsiteX35" fmla="*/ 53202 w 213600"/>
                <a:gd name="connsiteY35" fmla="*/ 214314 h 276243"/>
                <a:gd name="connsiteX36" fmla="*/ 77322 w 213600"/>
                <a:gd name="connsiteY36" fmla="*/ 204729 h 276243"/>
                <a:gd name="connsiteX37" fmla="*/ 64681 w 213600"/>
                <a:gd name="connsiteY37" fmla="*/ 187983 h 276243"/>
                <a:gd name="connsiteX38" fmla="*/ 69067 w 213600"/>
                <a:gd name="connsiteY38" fmla="*/ 167465 h 276243"/>
                <a:gd name="connsiteX39" fmla="*/ 103372 w 213600"/>
                <a:gd name="connsiteY39" fmla="*/ 170309 h 276243"/>
                <a:gd name="connsiteX40" fmla="*/ 103412 w 213600"/>
                <a:gd name="connsiteY40" fmla="*/ 170312 h 276243"/>
                <a:gd name="connsiteX41" fmla="*/ 106807 w 213600"/>
                <a:gd name="connsiteY41" fmla="*/ 152002 h 276243"/>
                <a:gd name="connsiteX42" fmla="*/ 91348 w 213600"/>
                <a:gd name="connsiteY42" fmla="*/ 132423 h 276243"/>
                <a:gd name="connsiteX43" fmla="*/ 90995 w 213600"/>
                <a:gd name="connsiteY43" fmla="*/ 131974 h 276243"/>
                <a:gd name="connsiteX44" fmla="*/ 62969 w 213600"/>
                <a:gd name="connsiteY44" fmla="*/ 126350 h 276243"/>
                <a:gd name="connsiteX45" fmla="*/ 57467 w 213600"/>
                <a:gd name="connsiteY45" fmla="*/ 117674 h 276243"/>
                <a:gd name="connsiteX46" fmla="*/ 65856 w 213600"/>
                <a:gd name="connsiteY46" fmla="*/ 103279 h 276243"/>
                <a:gd name="connsiteX47" fmla="*/ 58265 w 213600"/>
                <a:gd name="connsiteY47" fmla="*/ 94360 h 276243"/>
                <a:gd name="connsiteX48" fmla="*/ 45836 w 213600"/>
                <a:gd name="connsiteY48" fmla="*/ 109646 h 276243"/>
                <a:gd name="connsiteX49" fmla="*/ 44484 w 213600"/>
                <a:gd name="connsiteY49" fmla="*/ 78380 h 276243"/>
                <a:gd name="connsiteX50" fmla="*/ 32828 w 213600"/>
                <a:gd name="connsiteY50" fmla="*/ 61666 h 276243"/>
                <a:gd name="connsiteX51" fmla="*/ 41210 w 213600"/>
                <a:gd name="connsiteY51" fmla="*/ 27410 h 276243"/>
                <a:gd name="connsiteX52" fmla="*/ 59141 w 213600"/>
                <a:gd name="connsiteY52" fmla="*/ 169 h 276243"/>
                <a:gd name="connsiteX53" fmla="*/ 77573 w 213600"/>
                <a:gd name="connsiteY53" fmla="*/ 2842 h 27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13600" h="276243">
                  <a:moveTo>
                    <a:pt x="19350" y="114098"/>
                  </a:moveTo>
                  <a:lnTo>
                    <a:pt x="44092" y="133901"/>
                  </a:lnTo>
                  <a:lnTo>
                    <a:pt x="31722" y="155717"/>
                  </a:lnTo>
                  <a:lnTo>
                    <a:pt x="14275" y="149192"/>
                  </a:lnTo>
                  <a:lnTo>
                    <a:pt x="0" y="149628"/>
                  </a:lnTo>
                  <a:lnTo>
                    <a:pt x="4758" y="132586"/>
                  </a:lnTo>
                  <a:lnTo>
                    <a:pt x="0" y="115424"/>
                  </a:lnTo>
                  <a:close/>
                  <a:moveTo>
                    <a:pt x="105422" y="0"/>
                  </a:moveTo>
                  <a:lnTo>
                    <a:pt x="80751" y="36267"/>
                  </a:lnTo>
                  <a:lnTo>
                    <a:pt x="104268" y="31707"/>
                  </a:lnTo>
                  <a:lnTo>
                    <a:pt x="129560" y="31881"/>
                  </a:lnTo>
                  <a:lnTo>
                    <a:pt x="123542" y="58869"/>
                  </a:lnTo>
                  <a:lnTo>
                    <a:pt x="102791" y="88196"/>
                  </a:lnTo>
                  <a:lnTo>
                    <a:pt x="126658" y="90270"/>
                  </a:lnTo>
                  <a:lnTo>
                    <a:pt x="128489" y="93682"/>
                  </a:lnTo>
                  <a:lnTo>
                    <a:pt x="149048" y="131655"/>
                  </a:lnTo>
                  <a:lnTo>
                    <a:pt x="164849" y="136778"/>
                  </a:lnTo>
                  <a:lnTo>
                    <a:pt x="179055" y="172807"/>
                  </a:lnTo>
                  <a:lnTo>
                    <a:pt x="185634" y="185174"/>
                  </a:lnTo>
                  <a:lnTo>
                    <a:pt x="213600" y="191116"/>
                  </a:lnTo>
                  <a:lnTo>
                    <a:pt x="210794" y="210960"/>
                  </a:lnTo>
                  <a:lnTo>
                    <a:pt x="199035" y="220006"/>
                  </a:lnTo>
                  <a:lnTo>
                    <a:pt x="208252" y="235886"/>
                  </a:lnTo>
                  <a:lnTo>
                    <a:pt x="187489" y="251860"/>
                  </a:lnTo>
                  <a:lnTo>
                    <a:pt x="156608" y="251579"/>
                  </a:lnTo>
                  <a:lnTo>
                    <a:pt x="117310" y="259927"/>
                  </a:lnTo>
                  <a:lnTo>
                    <a:pt x="106547" y="253953"/>
                  </a:lnTo>
                  <a:lnTo>
                    <a:pt x="91285" y="268149"/>
                  </a:lnTo>
                  <a:lnTo>
                    <a:pt x="69932" y="264717"/>
                  </a:lnTo>
                  <a:lnTo>
                    <a:pt x="53716" y="276243"/>
                  </a:lnTo>
                  <a:lnTo>
                    <a:pt x="41447" y="270223"/>
                  </a:lnTo>
                  <a:lnTo>
                    <a:pt x="75299" y="238316"/>
                  </a:lnTo>
                  <a:lnTo>
                    <a:pt x="95962" y="231704"/>
                  </a:lnTo>
                  <a:lnTo>
                    <a:pt x="95780" y="231678"/>
                  </a:lnTo>
                  <a:lnTo>
                    <a:pt x="59733" y="226566"/>
                  </a:lnTo>
                  <a:lnTo>
                    <a:pt x="53202" y="214314"/>
                  </a:lnTo>
                  <a:lnTo>
                    <a:pt x="77322" y="204729"/>
                  </a:lnTo>
                  <a:lnTo>
                    <a:pt x="64681" y="187983"/>
                  </a:lnTo>
                  <a:lnTo>
                    <a:pt x="69067" y="167465"/>
                  </a:lnTo>
                  <a:lnTo>
                    <a:pt x="103372" y="170309"/>
                  </a:lnTo>
                  <a:lnTo>
                    <a:pt x="103412" y="170312"/>
                  </a:lnTo>
                  <a:lnTo>
                    <a:pt x="106807" y="152002"/>
                  </a:lnTo>
                  <a:lnTo>
                    <a:pt x="91348" y="132423"/>
                  </a:lnTo>
                  <a:lnTo>
                    <a:pt x="90995" y="131974"/>
                  </a:lnTo>
                  <a:lnTo>
                    <a:pt x="62969" y="126350"/>
                  </a:lnTo>
                  <a:lnTo>
                    <a:pt x="57467" y="117674"/>
                  </a:lnTo>
                  <a:lnTo>
                    <a:pt x="65856" y="103279"/>
                  </a:lnTo>
                  <a:lnTo>
                    <a:pt x="58265" y="94360"/>
                  </a:lnTo>
                  <a:lnTo>
                    <a:pt x="45836" y="109646"/>
                  </a:lnTo>
                  <a:lnTo>
                    <a:pt x="44484" y="78380"/>
                  </a:lnTo>
                  <a:lnTo>
                    <a:pt x="32828" y="61666"/>
                  </a:lnTo>
                  <a:lnTo>
                    <a:pt x="41210" y="27410"/>
                  </a:lnTo>
                  <a:lnTo>
                    <a:pt x="59141" y="169"/>
                  </a:lnTo>
                  <a:lnTo>
                    <a:pt x="77573" y="284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33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5757845" y="3593478"/>
              <a:ext cx="337691" cy="238008"/>
            </a:xfrm>
            <a:custGeom>
              <a:avLst/>
              <a:gdLst/>
              <a:ahLst/>
              <a:cxnLst/>
              <a:rect l="0" t="0" r="0" b="0"/>
              <a:pathLst>
                <a:path w="337691" h="238008">
                  <a:moveTo>
                    <a:pt x="15751" y="75342"/>
                  </a:moveTo>
                  <a:lnTo>
                    <a:pt x="39291" y="85295"/>
                  </a:lnTo>
                  <a:lnTo>
                    <a:pt x="56696" y="81800"/>
                  </a:lnTo>
                  <a:lnTo>
                    <a:pt x="61518" y="69897"/>
                  </a:lnTo>
                  <a:lnTo>
                    <a:pt x="79738" y="65927"/>
                  </a:lnTo>
                  <a:lnTo>
                    <a:pt x="92747" y="57907"/>
                  </a:lnTo>
                  <a:lnTo>
                    <a:pt x="97355" y="36724"/>
                  </a:lnTo>
                  <a:lnTo>
                    <a:pt x="116810" y="31581"/>
                  </a:lnTo>
                  <a:lnTo>
                    <a:pt x="120426" y="22095"/>
                  </a:lnTo>
                  <a:lnTo>
                    <a:pt x="131316" y="29223"/>
                  </a:lnTo>
                  <a:lnTo>
                    <a:pt x="138269" y="30049"/>
                  </a:lnTo>
                  <a:lnTo>
                    <a:pt x="151130" y="30226"/>
                  </a:lnTo>
                  <a:lnTo>
                    <a:pt x="168539" y="35842"/>
                  </a:lnTo>
                  <a:lnTo>
                    <a:pt x="175592" y="39080"/>
                  </a:lnTo>
                  <a:lnTo>
                    <a:pt x="192302" y="30540"/>
                  </a:lnTo>
                  <a:lnTo>
                    <a:pt x="200077" y="35679"/>
                  </a:lnTo>
                  <a:lnTo>
                    <a:pt x="207521" y="23487"/>
                  </a:lnTo>
                  <a:lnTo>
                    <a:pt x="221320" y="24041"/>
                  </a:lnTo>
                  <a:lnTo>
                    <a:pt x="224874" y="20120"/>
                  </a:lnTo>
                  <a:lnTo>
                    <a:pt x="227315" y="9334"/>
                  </a:lnTo>
                  <a:lnTo>
                    <a:pt x="237252" y="0"/>
                  </a:lnTo>
                  <a:lnTo>
                    <a:pt x="249747" y="6103"/>
                  </a:lnTo>
                  <a:lnTo>
                    <a:pt x="247238" y="14290"/>
                  </a:lnTo>
                  <a:lnTo>
                    <a:pt x="254220" y="15560"/>
                  </a:lnTo>
                  <a:lnTo>
                    <a:pt x="252068" y="37950"/>
                  </a:lnTo>
                  <a:lnTo>
                    <a:pt x="261208" y="46637"/>
                  </a:lnTo>
                  <a:lnTo>
                    <a:pt x="269250" y="41066"/>
                  </a:lnTo>
                  <a:lnTo>
                    <a:pt x="279495" y="38431"/>
                  </a:lnTo>
                  <a:lnTo>
                    <a:pt x="293879" y="26520"/>
                  </a:lnTo>
                  <a:lnTo>
                    <a:pt x="309775" y="28483"/>
                  </a:lnTo>
                  <a:lnTo>
                    <a:pt x="333580" y="28525"/>
                  </a:lnTo>
                  <a:lnTo>
                    <a:pt x="337690" y="36160"/>
                  </a:lnTo>
                  <a:lnTo>
                    <a:pt x="324253" y="39140"/>
                  </a:lnTo>
                  <a:lnTo>
                    <a:pt x="312519" y="44040"/>
                  </a:lnTo>
                  <a:lnTo>
                    <a:pt x="286031" y="47118"/>
                  </a:lnTo>
                  <a:lnTo>
                    <a:pt x="261246" y="52678"/>
                  </a:lnTo>
                  <a:lnTo>
                    <a:pt x="247767" y="64177"/>
                  </a:lnTo>
                  <a:lnTo>
                    <a:pt x="253225" y="75329"/>
                  </a:lnTo>
                  <a:lnTo>
                    <a:pt x="255863" y="88371"/>
                  </a:lnTo>
                  <a:lnTo>
                    <a:pt x="244367" y="99348"/>
                  </a:lnTo>
                  <a:lnTo>
                    <a:pt x="245330" y="109358"/>
                  </a:lnTo>
                  <a:lnTo>
                    <a:pt x="238983" y="118714"/>
                  </a:lnTo>
                  <a:lnTo>
                    <a:pt x="217026" y="117903"/>
                  </a:lnTo>
                  <a:lnTo>
                    <a:pt x="226098" y="135035"/>
                  </a:lnTo>
                  <a:lnTo>
                    <a:pt x="211407" y="141566"/>
                  </a:lnTo>
                  <a:lnTo>
                    <a:pt x="201606" y="157099"/>
                  </a:lnTo>
                  <a:lnTo>
                    <a:pt x="202881" y="172491"/>
                  </a:lnTo>
                  <a:lnTo>
                    <a:pt x="193854" y="179677"/>
                  </a:lnTo>
                  <a:lnTo>
                    <a:pt x="185319" y="177299"/>
                  </a:lnTo>
                  <a:lnTo>
                    <a:pt x="167678" y="180628"/>
                  </a:lnTo>
                  <a:lnTo>
                    <a:pt x="165155" y="187763"/>
                  </a:lnTo>
                  <a:lnTo>
                    <a:pt x="147970" y="187718"/>
                  </a:lnTo>
                  <a:lnTo>
                    <a:pt x="135103" y="202112"/>
                  </a:lnTo>
                  <a:lnTo>
                    <a:pt x="134296" y="223656"/>
                  </a:lnTo>
                  <a:lnTo>
                    <a:pt x="104297" y="234140"/>
                  </a:lnTo>
                  <a:lnTo>
                    <a:pt x="88221" y="231927"/>
                  </a:lnTo>
                  <a:lnTo>
                    <a:pt x="83549" y="237447"/>
                  </a:lnTo>
                  <a:lnTo>
                    <a:pt x="69752" y="234238"/>
                  </a:lnTo>
                  <a:lnTo>
                    <a:pt x="46660" y="238007"/>
                  </a:lnTo>
                  <a:lnTo>
                    <a:pt x="7982" y="225138"/>
                  </a:lnTo>
                  <a:lnTo>
                    <a:pt x="28918" y="202190"/>
                  </a:lnTo>
                  <a:lnTo>
                    <a:pt x="27027" y="185817"/>
                  </a:lnTo>
                  <a:lnTo>
                    <a:pt x="9545" y="181518"/>
                  </a:lnTo>
                  <a:lnTo>
                    <a:pt x="7738" y="165283"/>
                  </a:lnTo>
                  <a:lnTo>
                    <a:pt x="176" y="144769"/>
                  </a:lnTo>
                  <a:lnTo>
                    <a:pt x="10047" y="130633"/>
                  </a:lnTo>
                  <a:lnTo>
                    <a:pt x="0" y="126812"/>
                  </a:lnTo>
                  <a:lnTo>
                    <a:pt x="6342" y="10792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34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629371" y="4630477"/>
              <a:ext cx="287144" cy="315772"/>
            </a:xfrm>
            <a:custGeom>
              <a:avLst/>
              <a:gdLst/>
              <a:ahLst/>
              <a:cxnLst/>
              <a:rect l="l" t="t" r="r" b="b"/>
              <a:pathLst>
                <a:path w="287144" h="315772">
                  <a:moveTo>
                    <a:pt x="40060" y="33006"/>
                  </a:moveTo>
                  <a:lnTo>
                    <a:pt x="108175" y="33313"/>
                  </a:lnTo>
                  <a:lnTo>
                    <a:pt x="113869" y="50579"/>
                  </a:lnTo>
                  <a:lnTo>
                    <a:pt x="120494" y="64486"/>
                  </a:lnTo>
                  <a:lnTo>
                    <a:pt x="125798" y="71990"/>
                  </a:lnTo>
                  <a:lnTo>
                    <a:pt x="134638" y="84132"/>
                  </a:lnTo>
                  <a:lnTo>
                    <a:pt x="149902" y="82253"/>
                  </a:lnTo>
                  <a:lnTo>
                    <a:pt x="157518" y="78986"/>
                  </a:lnTo>
                  <a:lnTo>
                    <a:pt x="170273" y="82266"/>
                  </a:lnTo>
                  <a:lnTo>
                    <a:pt x="173732" y="76459"/>
                  </a:lnTo>
                  <a:lnTo>
                    <a:pt x="179523" y="62934"/>
                  </a:lnTo>
                  <a:lnTo>
                    <a:pt x="193840" y="62028"/>
                  </a:lnTo>
                  <a:lnTo>
                    <a:pt x="195084" y="58009"/>
                  </a:lnTo>
                  <a:lnTo>
                    <a:pt x="206861" y="57922"/>
                  </a:lnTo>
                  <a:lnTo>
                    <a:pt x="204851" y="66280"/>
                  </a:lnTo>
                  <a:lnTo>
                    <a:pt x="232859" y="66077"/>
                  </a:lnTo>
                  <a:lnTo>
                    <a:pt x="233282" y="80683"/>
                  </a:lnTo>
                  <a:lnTo>
                    <a:pt x="237960" y="89646"/>
                  </a:lnTo>
                  <a:lnTo>
                    <a:pt x="234559" y="103662"/>
                  </a:lnTo>
                  <a:lnTo>
                    <a:pt x="236253" y="117976"/>
                  </a:lnTo>
                  <a:lnTo>
                    <a:pt x="243953" y="126621"/>
                  </a:lnTo>
                  <a:lnTo>
                    <a:pt x="242718" y="154387"/>
                  </a:lnTo>
                  <a:lnTo>
                    <a:pt x="248432" y="152244"/>
                  </a:lnTo>
                  <a:lnTo>
                    <a:pt x="258462" y="152818"/>
                  </a:lnTo>
                  <a:lnTo>
                    <a:pt x="272761" y="149320"/>
                  </a:lnTo>
                  <a:lnTo>
                    <a:pt x="283273" y="150697"/>
                  </a:lnTo>
                  <a:lnTo>
                    <a:pt x="285713" y="157950"/>
                  </a:lnTo>
                  <a:lnTo>
                    <a:pt x="283087" y="169291"/>
                  </a:lnTo>
                  <a:lnTo>
                    <a:pt x="287144" y="180269"/>
                  </a:lnTo>
                  <a:lnTo>
                    <a:pt x="283705" y="189046"/>
                  </a:lnTo>
                  <a:lnTo>
                    <a:pt x="285672" y="197142"/>
                  </a:lnTo>
                  <a:lnTo>
                    <a:pt x="237608" y="196846"/>
                  </a:lnTo>
                  <a:lnTo>
                    <a:pt x="236546" y="271828"/>
                  </a:lnTo>
                  <a:lnTo>
                    <a:pt x="252118" y="291224"/>
                  </a:lnTo>
                  <a:lnTo>
                    <a:pt x="267181" y="306070"/>
                  </a:lnTo>
                  <a:lnTo>
                    <a:pt x="224758" y="315772"/>
                  </a:lnTo>
                  <a:lnTo>
                    <a:pt x="168875" y="312401"/>
                  </a:lnTo>
                  <a:lnTo>
                    <a:pt x="152882" y="301000"/>
                  </a:lnTo>
                  <a:lnTo>
                    <a:pt x="59313" y="302026"/>
                  </a:lnTo>
                  <a:lnTo>
                    <a:pt x="55823" y="303698"/>
                  </a:lnTo>
                  <a:lnTo>
                    <a:pt x="42063" y="292952"/>
                  </a:lnTo>
                  <a:lnTo>
                    <a:pt x="27099" y="292243"/>
                  </a:lnTo>
                  <a:lnTo>
                    <a:pt x="13281" y="296288"/>
                  </a:lnTo>
                  <a:lnTo>
                    <a:pt x="2172" y="300809"/>
                  </a:lnTo>
                  <a:lnTo>
                    <a:pt x="0" y="285877"/>
                  </a:lnTo>
                  <a:lnTo>
                    <a:pt x="3195" y="265047"/>
                  </a:lnTo>
                  <a:lnTo>
                    <a:pt x="11160" y="243421"/>
                  </a:lnTo>
                  <a:lnTo>
                    <a:pt x="12361" y="233303"/>
                  </a:lnTo>
                  <a:lnTo>
                    <a:pt x="19851" y="212092"/>
                  </a:lnTo>
                  <a:lnTo>
                    <a:pt x="25354" y="202466"/>
                  </a:lnTo>
                  <a:lnTo>
                    <a:pt x="38613" y="187119"/>
                  </a:lnTo>
                  <a:lnTo>
                    <a:pt x="46018" y="176694"/>
                  </a:lnTo>
                  <a:lnTo>
                    <a:pt x="48442" y="159366"/>
                  </a:lnTo>
                  <a:lnTo>
                    <a:pt x="47234" y="146127"/>
                  </a:lnTo>
                  <a:lnTo>
                    <a:pt x="40331" y="137784"/>
                  </a:lnTo>
                  <a:lnTo>
                    <a:pt x="34183" y="123641"/>
                  </a:lnTo>
                  <a:lnTo>
                    <a:pt x="28513" y="109670"/>
                  </a:lnTo>
                  <a:lnTo>
                    <a:pt x="29753" y="104834"/>
                  </a:lnTo>
                  <a:lnTo>
                    <a:pt x="36848" y="95613"/>
                  </a:lnTo>
                  <a:lnTo>
                    <a:pt x="29845" y="73171"/>
                  </a:lnTo>
                  <a:lnTo>
                    <a:pt x="25119" y="57639"/>
                  </a:lnTo>
                  <a:lnTo>
                    <a:pt x="13555" y="42973"/>
                  </a:lnTo>
                  <a:lnTo>
                    <a:pt x="15750" y="38470"/>
                  </a:lnTo>
                  <a:lnTo>
                    <a:pt x="25277" y="35356"/>
                  </a:lnTo>
                  <a:lnTo>
                    <a:pt x="31964" y="35790"/>
                  </a:lnTo>
                  <a:close/>
                  <a:moveTo>
                    <a:pt x="22637" y="0"/>
                  </a:moveTo>
                  <a:lnTo>
                    <a:pt x="31287" y="7935"/>
                  </a:lnTo>
                  <a:lnTo>
                    <a:pt x="22887" y="12798"/>
                  </a:lnTo>
                  <a:lnTo>
                    <a:pt x="19110" y="18748"/>
                  </a:lnTo>
                  <a:lnTo>
                    <a:pt x="18388" y="28840"/>
                  </a:lnTo>
                  <a:lnTo>
                    <a:pt x="12516" y="31286"/>
                  </a:lnTo>
                  <a:lnTo>
                    <a:pt x="6345" y="13879"/>
                  </a:lnTo>
                  <a:lnTo>
                    <a:pt x="15662" y="389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35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806286" y="3478483"/>
              <a:ext cx="39600" cy="84252"/>
            </a:xfrm>
            <a:custGeom>
              <a:avLst/>
              <a:gdLst/>
              <a:ahLst/>
              <a:cxnLst/>
              <a:rect l="0" t="0" r="0" b="0"/>
              <a:pathLst>
                <a:path w="39600" h="84252">
                  <a:moveTo>
                    <a:pt x="29679" y="23140"/>
                  </a:moveTo>
                  <a:lnTo>
                    <a:pt x="26745" y="32543"/>
                  </a:lnTo>
                  <a:lnTo>
                    <a:pt x="30023" y="44352"/>
                  </a:lnTo>
                  <a:lnTo>
                    <a:pt x="39599" y="51037"/>
                  </a:lnTo>
                  <a:lnTo>
                    <a:pt x="39136" y="58233"/>
                  </a:lnTo>
                  <a:lnTo>
                    <a:pt x="31635" y="62197"/>
                  </a:lnTo>
                  <a:lnTo>
                    <a:pt x="30250" y="71064"/>
                  </a:lnTo>
                  <a:lnTo>
                    <a:pt x="19517" y="84251"/>
                  </a:lnTo>
                  <a:lnTo>
                    <a:pt x="15592" y="82351"/>
                  </a:lnTo>
                  <a:lnTo>
                    <a:pt x="15131" y="76372"/>
                  </a:lnTo>
                  <a:lnTo>
                    <a:pt x="2345" y="67227"/>
                  </a:lnTo>
                  <a:lnTo>
                    <a:pt x="336" y="54203"/>
                  </a:lnTo>
                  <a:lnTo>
                    <a:pt x="2286" y="35453"/>
                  </a:lnTo>
                  <a:lnTo>
                    <a:pt x="5437" y="26885"/>
                  </a:lnTo>
                  <a:lnTo>
                    <a:pt x="1553" y="22527"/>
                  </a:lnTo>
                  <a:lnTo>
                    <a:pt x="0" y="13705"/>
                  </a:lnTo>
                  <a:lnTo>
                    <a:pt x="10008" y="0"/>
                  </a:lnTo>
                  <a:lnTo>
                    <a:pt x="11475" y="5244"/>
                  </a:lnTo>
                  <a:lnTo>
                    <a:pt x="17686" y="2777"/>
                  </a:lnTo>
                  <a:lnTo>
                    <a:pt x="22604" y="10246"/>
                  </a:lnTo>
                  <a:lnTo>
                    <a:pt x="28125" y="1309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36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5551280" y="3912817"/>
              <a:ext cx="111197" cy="87108"/>
            </a:xfrm>
            <a:custGeom>
              <a:avLst/>
              <a:gdLst/>
              <a:ahLst/>
              <a:cxnLst/>
              <a:rect l="0" t="0" r="0" b="0"/>
              <a:pathLst>
                <a:path w="111197" h="87108">
                  <a:moveTo>
                    <a:pt x="0" y="44496"/>
                  </a:moveTo>
                  <a:lnTo>
                    <a:pt x="4107" y="43307"/>
                  </a:lnTo>
                  <a:lnTo>
                    <a:pt x="4960" y="50016"/>
                  </a:lnTo>
                  <a:lnTo>
                    <a:pt x="23026" y="46162"/>
                  </a:lnTo>
                  <a:lnTo>
                    <a:pt x="42114" y="46800"/>
                  </a:lnTo>
                  <a:lnTo>
                    <a:pt x="56056" y="47523"/>
                  </a:lnTo>
                  <a:lnTo>
                    <a:pt x="71868" y="30960"/>
                  </a:lnTo>
                  <a:lnTo>
                    <a:pt x="89088" y="15198"/>
                  </a:lnTo>
                  <a:lnTo>
                    <a:pt x="103671" y="0"/>
                  </a:lnTo>
                  <a:lnTo>
                    <a:pt x="108062" y="8411"/>
                  </a:lnTo>
                  <a:lnTo>
                    <a:pt x="111196" y="27846"/>
                  </a:lnTo>
                  <a:lnTo>
                    <a:pt x="99410" y="27942"/>
                  </a:lnTo>
                  <a:lnTo>
                    <a:pt x="97515" y="43906"/>
                  </a:lnTo>
                  <a:lnTo>
                    <a:pt x="101603" y="47308"/>
                  </a:lnTo>
                  <a:lnTo>
                    <a:pt x="91156" y="52123"/>
                  </a:lnTo>
                  <a:lnTo>
                    <a:pt x="91091" y="62100"/>
                  </a:lnTo>
                  <a:lnTo>
                    <a:pt x="84366" y="72183"/>
                  </a:lnTo>
                  <a:lnTo>
                    <a:pt x="83763" y="81974"/>
                  </a:lnTo>
                  <a:lnTo>
                    <a:pt x="79111" y="87107"/>
                  </a:lnTo>
                  <a:lnTo>
                    <a:pt x="9722" y="74856"/>
                  </a:lnTo>
                  <a:lnTo>
                    <a:pt x="881" y="5015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37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5366693" y="3518383"/>
              <a:ext cx="67471" cy="68239"/>
            </a:xfrm>
            <a:custGeom>
              <a:avLst/>
              <a:gdLst/>
              <a:ahLst/>
              <a:cxnLst/>
              <a:rect l="0" t="0" r="0" b="0"/>
              <a:pathLst>
                <a:path w="67471" h="68239">
                  <a:moveTo>
                    <a:pt x="0" y="4290"/>
                  </a:moveTo>
                  <a:lnTo>
                    <a:pt x="32079" y="0"/>
                  </a:lnTo>
                  <a:lnTo>
                    <a:pt x="36857" y="7223"/>
                  </a:lnTo>
                  <a:lnTo>
                    <a:pt x="45648" y="11971"/>
                  </a:lnTo>
                  <a:lnTo>
                    <a:pt x="41005" y="18839"/>
                  </a:lnTo>
                  <a:lnTo>
                    <a:pt x="53301" y="28208"/>
                  </a:lnTo>
                  <a:lnTo>
                    <a:pt x="46795" y="36881"/>
                  </a:lnTo>
                  <a:lnTo>
                    <a:pt x="56594" y="44269"/>
                  </a:lnTo>
                  <a:lnTo>
                    <a:pt x="66957" y="48711"/>
                  </a:lnTo>
                  <a:lnTo>
                    <a:pt x="67470" y="67446"/>
                  </a:lnTo>
                  <a:lnTo>
                    <a:pt x="59112" y="68238"/>
                  </a:lnTo>
                  <a:lnTo>
                    <a:pt x="49688" y="52622"/>
                  </a:lnTo>
                  <a:lnTo>
                    <a:pt x="49795" y="48444"/>
                  </a:lnTo>
                  <a:lnTo>
                    <a:pt x="39596" y="48505"/>
                  </a:lnTo>
                  <a:lnTo>
                    <a:pt x="32760" y="41229"/>
                  </a:lnTo>
                  <a:lnTo>
                    <a:pt x="27959" y="41962"/>
                  </a:lnTo>
                  <a:lnTo>
                    <a:pt x="18865" y="34024"/>
                  </a:lnTo>
                  <a:lnTo>
                    <a:pt x="1701" y="27251"/>
                  </a:lnTo>
                  <a:lnTo>
                    <a:pt x="3922" y="1394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38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6976852" y="4775136"/>
              <a:ext cx="928629" cy="828837"/>
            </a:xfrm>
            <a:custGeom>
              <a:avLst/>
              <a:gdLst/>
              <a:ahLst/>
              <a:cxnLst/>
              <a:rect l="l" t="t" r="r" b="b"/>
              <a:pathLst>
                <a:path w="928629" h="828837">
                  <a:moveTo>
                    <a:pt x="724907" y="747483"/>
                  </a:moveTo>
                  <a:lnTo>
                    <a:pt x="740009" y="749910"/>
                  </a:lnTo>
                  <a:lnTo>
                    <a:pt x="762310" y="759385"/>
                  </a:lnTo>
                  <a:lnTo>
                    <a:pt x="774878" y="755616"/>
                  </a:lnTo>
                  <a:lnTo>
                    <a:pt x="792898" y="750340"/>
                  </a:lnTo>
                  <a:lnTo>
                    <a:pt x="806743" y="752182"/>
                  </a:lnTo>
                  <a:lnTo>
                    <a:pt x="808377" y="784918"/>
                  </a:lnTo>
                  <a:lnTo>
                    <a:pt x="800470" y="794488"/>
                  </a:lnTo>
                  <a:lnTo>
                    <a:pt x="798087" y="816954"/>
                  </a:lnTo>
                  <a:lnTo>
                    <a:pt x="790020" y="809288"/>
                  </a:lnTo>
                  <a:lnTo>
                    <a:pt x="773995" y="828837"/>
                  </a:lnTo>
                  <a:lnTo>
                    <a:pt x="769216" y="827325"/>
                  </a:lnTo>
                  <a:lnTo>
                    <a:pt x="755022" y="826450"/>
                  </a:lnTo>
                  <a:lnTo>
                    <a:pt x="740792" y="802476"/>
                  </a:lnTo>
                  <a:lnTo>
                    <a:pt x="737634" y="784119"/>
                  </a:lnTo>
                  <a:lnTo>
                    <a:pt x="724315" y="760068"/>
                  </a:lnTo>
                  <a:close/>
                  <a:moveTo>
                    <a:pt x="673468" y="0"/>
                  </a:moveTo>
                  <a:lnTo>
                    <a:pt x="679978" y="11424"/>
                  </a:lnTo>
                  <a:lnTo>
                    <a:pt x="681582" y="26093"/>
                  </a:lnTo>
                  <a:lnTo>
                    <a:pt x="687334" y="28923"/>
                  </a:lnTo>
                  <a:lnTo>
                    <a:pt x="688319" y="38759"/>
                  </a:lnTo>
                  <a:lnTo>
                    <a:pt x="696709" y="50685"/>
                  </a:lnTo>
                  <a:lnTo>
                    <a:pt x="698442" y="63973"/>
                  </a:lnTo>
                  <a:lnTo>
                    <a:pt x="697625" y="72510"/>
                  </a:lnTo>
                  <a:lnTo>
                    <a:pt x="705942" y="90982"/>
                  </a:lnTo>
                  <a:lnTo>
                    <a:pt x="720752" y="82099"/>
                  </a:lnTo>
                  <a:lnTo>
                    <a:pt x="728397" y="92070"/>
                  </a:lnTo>
                  <a:lnTo>
                    <a:pt x="739472" y="101280"/>
                  </a:lnTo>
                  <a:lnTo>
                    <a:pt x="737100" y="111746"/>
                  </a:lnTo>
                  <a:lnTo>
                    <a:pt x="742023" y="132033"/>
                  </a:lnTo>
                  <a:lnTo>
                    <a:pt x="745527" y="143872"/>
                  </a:lnTo>
                  <a:lnTo>
                    <a:pt x="751341" y="146768"/>
                  </a:lnTo>
                  <a:lnTo>
                    <a:pt x="757605" y="167089"/>
                  </a:lnTo>
                  <a:lnTo>
                    <a:pt x="755375" y="179445"/>
                  </a:lnTo>
                  <a:lnTo>
                    <a:pt x="762849" y="195644"/>
                  </a:lnTo>
                  <a:lnTo>
                    <a:pt x="787862" y="208151"/>
                  </a:lnTo>
                  <a:lnTo>
                    <a:pt x="804170" y="219550"/>
                  </a:lnTo>
                  <a:lnTo>
                    <a:pt x="819654" y="230009"/>
                  </a:lnTo>
                  <a:lnTo>
                    <a:pt x="816631" y="235839"/>
                  </a:lnTo>
                  <a:lnTo>
                    <a:pt x="829834" y="250954"/>
                  </a:lnTo>
                  <a:lnTo>
                    <a:pt x="838810" y="277134"/>
                  </a:lnTo>
                  <a:lnTo>
                    <a:pt x="848022" y="271807"/>
                  </a:lnTo>
                  <a:lnTo>
                    <a:pt x="857384" y="282318"/>
                  </a:lnTo>
                  <a:lnTo>
                    <a:pt x="863023" y="278587"/>
                  </a:lnTo>
                  <a:lnTo>
                    <a:pt x="866999" y="304361"/>
                  </a:lnTo>
                  <a:lnTo>
                    <a:pt x="883380" y="319352"/>
                  </a:lnTo>
                  <a:lnTo>
                    <a:pt x="894099" y="328692"/>
                  </a:lnTo>
                  <a:lnTo>
                    <a:pt x="912142" y="348566"/>
                  </a:lnTo>
                  <a:lnTo>
                    <a:pt x="918627" y="368376"/>
                  </a:lnTo>
                  <a:lnTo>
                    <a:pt x="919222" y="382481"/>
                  </a:lnTo>
                  <a:lnTo>
                    <a:pt x="917629" y="397844"/>
                  </a:lnTo>
                  <a:lnTo>
                    <a:pt x="928629" y="419021"/>
                  </a:lnTo>
                  <a:lnTo>
                    <a:pt x="927305" y="441188"/>
                  </a:lnTo>
                  <a:lnTo>
                    <a:pt x="923312" y="452835"/>
                  </a:lnTo>
                  <a:lnTo>
                    <a:pt x="917082" y="475361"/>
                  </a:lnTo>
                  <a:lnTo>
                    <a:pt x="917552" y="489907"/>
                  </a:lnTo>
                  <a:lnTo>
                    <a:pt x="912981" y="508167"/>
                  </a:lnTo>
                  <a:lnTo>
                    <a:pt x="902789" y="531463"/>
                  </a:lnTo>
                  <a:lnTo>
                    <a:pt x="885687" y="544107"/>
                  </a:lnTo>
                  <a:lnTo>
                    <a:pt x="877259" y="564131"/>
                  </a:lnTo>
                  <a:lnTo>
                    <a:pt x="869562" y="576966"/>
                  </a:lnTo>
                  <a:lnTo>
                    <a:pt x="862721" y="599487"/>
                  </a:lnTo>
                  <a:lnTo>
                    <a:pt x="853812" y="612558"/>
                  </a:lnTo>
                  <a:lnTo>
                    <a:pt x="847972" y="632277"/>
                  </a:lnTo>
                  <a:lnTo>
                    <a:pt x="844992" y="650530"/>
                  </a:lnTo>
                  <a:lnTo>
                    <a:pt x="846173" y="658942"/>
                  </a:lnTo>
                  <a:lnTo>
                    <a:pt x="832937" y="668210"/>
                  </a:lnTo>
                  <a:lnTo>
                    <a:pt x="807102" y="669182"/>
                  </a:lnTo>
                  <a:lnTo>
                    <a:pt x="785799" y="680159"/>
                  </a:lnTo>
                  <a:lnTo>
                    <a:pt x="775190" y="690560"/>
                  </a:lnTo>
                  <a:lnTo>
                    <a:pt x="761243" y="702126"/>
                  </a:lnTo>
                  <a:lnTo>
                    <a:pt x="742125" y="690217"/>
                  </a:lnTo>
                  <a:lnTo>
                    <a:pt x="727983" y="685478"/>
                  </a:lnTo>
                  <a:lnTo>
                    <a:pt x="731566" y="671511"/>
                  </a:lnTo>
                  <a:lnTo>
                    <a:pt x="718950" y="676572"/>
                  </a:lnTo>
                  <a:lnTo>
                    <a:pt x="698737" y="696023"/>
                  </a:lnTo>
                  <a:lnTo>
                    <a:pt x="678781" y="688725"/>
                  </a:lnTo>
                  <a:lnTo>
                    <a:pt x="665691" y="684474"/>
                  </a:lnTo>
                  <a:lnTo>
                    <a:pt x="652493" y="682555"/>
                  </a:lnTo>
                  <a:lnTo>
                    <a:pt x="630150" y="674805"/>
                  </a:lnTo>
                  <a:lnTo>
                    <a:pt x="615228" y="658347"/>
                  </a:lnTo>
                  <a:lnTo>
                    <a:pt x="610945" y="638186"/>
                  </a:lnTo>
                  <a:lnTo>
                    <a:pt x="605579" y="624837"/>
                  </a:lnTo>
                  <a:lnTo>
                    <a:pt x="594238" y="614158"/>
                  </a:lnTo>
                  <a:lnTo>
                    <a:pt x="572031" y="610993"/>
                  </a:lnTo>
                  <a:lnTo>
                    <a:pt x="579619" y="598277"/>
                  </a:lnTo>
                  <a:lnTo>
                    <a:pt x="574035" y="578901"/>
                  </a:lnTo>
                  <a:lnTo>
                    <a:pt x="562761" y="596958"/>
                  </a:lnTo>
                  <a:lnTo>
                    <a:pt x="542223" y="601767"/>
                  </a:lnTo>
                  <a:lnTo>
                    <a:pt x="554295" y="587306"/>
                  </a:lnTo>
                  <a:lnTo>
                    <a:pt x="557792" y="572284"/>
                  </a:lnTo>
                  <a:lnTo>
                    <a:pt x="566708" y="559584"/>
                  </a:lnTo>
                  <a:lnTo>
                    <a:pt x="564866" y="540466"/>
                  </a:lnTo>
                  <a:lnTo>
                    <a:pt x="546088" y="562492"/>
                  </a:lnTo>
                  <a:lnTo>
                    <a:pt x="531667" y="571362"/>
                  </a:lnTo>
                  <a:lnTo>
                    <a:pt x="522825" y="592077"/>
                  </a:lnTo>
                  <a:lnTo>
                    <a:pt x="504802" y="581346"/>
                  </a:lnTo>
                  <a:lnTo>
                    <a:pt x="505518" y="567551"/>
                  </a:lnTo>
                  <a:lnTo>
                    <a:pt x="491073" y="548787"/>
                  </a:lnTo>
                  <a:lnTo>
                    <a:pt x="478896" y="539128"/>
                  </a:lnTo>
                  <a:lnTo>
                    <a:pt x="483235" y="533190"/>
                  </a:lnTo>
                  <a:lnTo>
                    <a:pt x="453618" y="517646"/>
                  </a:lnTo>
                  <a:lnTo>
                    <a:pt x="437398" y="516915"/>
                  </a:lnTo>
                  <a:lnTo>
                    <a:pt x="415198" y="504476"/>
                  </a:lnTo>
                  <a:lnTo>
                    <a:pt x="373868" y="506890"/>
                  </a:lnTo>
                  <a:lnTo>
                    <a:pt x="343979" y="516041"/>
                  </a:lnTo>
                  <a:lnTo>
                    <a:pt x="317709" y="524591"/>
                  </a:lnTo>
                  <a:lnTo>
                    <a:pt x="295685" y="522891"/>
                  </a:lnTo>
                  <a:lnTo>
                    <a:pt x="271214" y="536058"/>
                  </a:lnTo>
                  <a:lnTo>
                    <a:pt x="251202" y="541998"/>
                  </a:lnTo>
                  <a:lnTo>
                    <a:pt x="246754" y="555531"/>
                  </a:lnTo>
                  <a:lnTo>
                    <a:pt x="238231" y="566053"/>
                  </a:lnTo>
                  <a:lnTo>
                    <a:pt x="218642" y="566683"/>
                  </a:lnTo>
                  <a:lnTo>
                    <a:pt x="204147" y="568991"/>
                  </a:lnTo>
                  <a:lnTo>
                    <a:pt x="183744" y="564261"/>
                  </a:lnTo>
                  <a:lnTo>
                    <a:pt x="167150" y="567090"/>
                  </a:lnTo>
                  <a:lnTo>
                    <a:pt x="151302" y="568281"/>
                  </a:lnTo>
                  <a:lnTo>
                    <a:pt x="137573" y="582146"/>
                  </a:lnTo>
                  <a:lnTo>
                    <a:pt x="130842" y="580968"/>
                  </a:lnTo>
                  <a:lnTo>
                    <a:pt x="119264" y="588337"/>
                  </a:lnTo>
                  <a:lnTo>
                    <a:pt x="108167" y="596642"/>
                  </a:lnTo>
                  <a:lnTo>
                    <a:pt x="91329" y="595615"/>
                  </a:lnTo>
                  <a:lnTo>
                    <a:pt x="75854" y="595605"/>
                  </a:lnTo>
                  <a:lnTo>
                    <a:pt x="51369" y="578945"/>
                  </a:lnTo>
                  <a:lnTo>
                    <a:pt x="38961" y="574006"/>
                  </a:lnTo>
                  <a:lnTo>
                    <a:pt x="39464" y="559142"/>
                  </a:lnTo>
                  <a:lnTo>
                    <a:pt x="50925" y="555620"/>
                  </a:lnTo>
                  <a:lnTo>
                    <a:pt x="54839" y="549737"/>
                  </a:lnTo>
                  <a:lnTo>
                    <a:pt x="54024" y="540475"/>
                  </a:lnTo>
                  <a:lnTo>
                    <a:pt x="56847" y="522612"/>
                  </a:lnTo>
                  <a:lnTo>
                    <a:pt x="54260" y="507452"/>
                  </a:lnTo>
                  <a:lnTo>
                    <a:pt x="42057" y="481731"/>
                  </a:lnTo>
                  <a:lnTo>
                    <a:pt x="38274" y="467278"/>
                  </a:lnTo>
                  <a:lnTo>
                    <a:pt x="39266" y="452908"/>
                  </a:lnTo>
                  <a:lnTo>
                    <a:pt x="30078" y="436549"/>
                  </a:lnTo>
                  <a:lnTo>
                    <a:pt x="29490" y="429184"/>
                  </a:lnTo>
                  <a:lnTo>
                    <a:pt x="19266" y="419221"/>
                  </a:lnTo>
                  <a:lnTo>
                    <a:pt x="16388" y="399695"/>
                  </a:lnTo>
                  <a:lnTo>
                    <a:pt x="3199" y="380049"/>
                  </a:lnTo>
                  <a:lnTo>
                    <a:pt x="0" y="369497"/>
                  </a:lnTo>
                  <a:lnTo>
                    <a:pt x="10143" y="380195"/>
                  </a:lnTo>
                  <a:lnTo>
                    <a:pt x="2355" y="357276"/>
                  </a:lnTo>
                  <a:lnTo>
                    <a:pt x="13803" y="364427"/>
                  </a:lnTo>
                  <a:lnTo>
                    <a:pt x="20634" y="373993"/>
                  </a:lnTo>
                  <a:lnTo>
                    <a:pt x="20249" y="361344"/>
                  </a:lnTo>
                  <a:lnTo>
                    <a:pt x="8825" y="341964"/>
                  </a:lnTo>
                  <a:lnTo>
                    <a:pt x="6612" y="334234"/>
                  </a:lnTo>
                  <a:lnTo>
                    <a:pt x="1260" y="326901"/>
                  </a:lnTo>
                  <a:lnTo>
                    <a:pt x="3765" y="312757"/>
                  </a:lnTo>
                  <a:lnTo>
                    <a:pt x="8496" y="306750"/>
                  </a:lnTo>
                  <a:lnTo>
                    <a:pt x="11645" y="294563"/>
                  </a:lnTo>
                  <a:lnTo>
                    <a:pt x="9178" y="280360"/>
                  </a:lnTo>
                  <a:lnTo>
                    <a:pt x="18716" y="262925"/>
                  </a:lnTo>
                  <a:lnTo>
                    <a:pt x="20460" y="281379"/>
                  </a:lnTo>
                  <a:lnTo>
                    <a:pt x="30212" y="264706"/>
                  </a:lnTo>
                  <a:lnTo>
                    <a:pt x="48964" y="256622"/>
                  </a:lnTo>
                  <a:lnTo>
                    <a:pt x="60210" y="246326"/>
                  </a:lnTo>
                  <a:lnTo>
                    <a:pt x="77851" y="237481"/>
                  </a:lnTo>
                  <a:lnTo>
                    <a:pt x="88346" y="235601"/>
                  </a:lnTo>
                  <a:lnTo>
                    <a:pt x="94699" y="238570"/>
                  </a:lnTo>
                  <a:lnTo>
                    <a:pt x="112889" y="229600"/>
                  </a:lnTo>
                  <a:lnTo>
                    <a:pt x="126890" y="226934"/>
                  </a:lnTo>
                  <a:lnTo>
                    <a:pt x="130392" y="221669"/>
                  </a:lnTo>
                  <a:lnTo>
                    <a:pt x="136501" y="219478"/>
                  </a:lnTo>
                  <a:lnTo>
                    <a:pt x="149260" y="220044"/>
                  </a:lnTo>
                  <a:lnTo>
                    <a:pt x="173519" y="213018"/>
                  </a:lnTo>
                  <a:lnTo>
                    <a:pt x="186068" y="202380"/>
                  </a:lnTo>
                  <a:lnTo>
                    <a:pt x="191961" y="189597"/>
                  </a:lnTo>
                  <a:lnTo>
                    <a:pt x="205500" y="177479"/>
                  </a:lnTo>
                  <a:lnTo>
                    <a:pt x="206537" y="167969"/>
                  </a:lnTo>
                  <a:lnTo>
                    <a:pt x="207141" y="155036"/>
                  </a:lnTo>
                  <a:lnTo>
                    <a:pt x="223294" y="134866"/>
                  </a:lnTo>
                  <a:lnTo>
                    <a:pt x="233016" y="155358"/>
                  </a:lnTo>
                  <a:lnTo>
                    <a:pt x="242840" y="150617"/>
                  </a:lnTo>
                  <a:lnTo>
                    <a:pt x="234620" y="139402"/>
                  </a:lnTo>
                  <a:lnTo>
                    <a:pt x="241864" y="127904"/>
                  </a:lnTo>
                  <a:lnTo>
                    <a:pt x="252048" y="133035"/>
                  </a:lnTo>
                  <a:lnTo>
                    <a:pt x="254852" y="115027"/>
                  </a:lnTo>
                  <a:lnTo>
                    <a:pt x="267465" y="103407"/>
                  </a:lnTo>
                  <a:lnTo>
                    <a:pt x="273030" y="94095"/>
                  </a:lnTo>
                  <a:lnTo>
                    <a:pt x="284637" y="90081"/>
                  </a:lnTo>
                  <a:lnTo>
                    <a:pt x="284999" y="83499"/>
                  </a:lnTo>
                  <a:lnTo>
                    <a:pt x="295141" y="86247"/>
                  </a:lnTo>
                  <a:lnTo>
                    <a:pt x="295548" y="80329"/>
                  </a:lnTo>
                  <a:lnTo>
                    <a:pt x="305700" y="76959"/>
                  </a:lnTo>
                  <a:lnTo>
                    <a:pt x="316855" y="73788"/>
                  </a:lnTo>
                  <a:lnTo>
                    <a:pt x="333907" y="84588"/>
                  </a:lnTo>
                  <a:lnTo>
                    <a:pt x="346720" y="98548"/>
                  </a:lnTo>
                  <a:lnTo>
                    <a:pt x="361166" y="98708"/>
                  </a:lnTo>
                  <a:lnTo>
                    <a:pt x="375845" y="100921"/>
                  </a:lnTo>
                  <a:lnTo>
                    <a:pt x="370955" y="87975"/>
                  </a:lnTo>
                  <a:lnTo>
                    <a:pt x="382012" y="69102"/>
                  </a:lnTo>
                  <a:lnTo>
                    <a:pt x="392418" y="62962"/>
                  </a:lnTo>
                  <a:lnTo>
                    <a:pt x="388818" y="57095"/>
                  </a:lnTo>
                  <a:lnTo>
                    <a:pt x="398843" y="43697"/>
                  </a:lnTo>
                  <a:lnTo>
                    <a:pt x="412824" y="35432"/>
                  </a:lnTo>
                  <a:lnTo>
                    <a:pt x="424633" y="38215"/>
                  </a:lnTo>
                  <a:lnTo>
                    <a:pt x="444027" y="33802"/>
                  </a:lnTo>
                  <a:lnTo>
                    <a:pt x="443610" y="21843"/>
                  </a:lnTo>
                  <a:lnTo>
                    <a:pt x="426701" y="14145"/>
                  </a:lnTo>
                  <a:lnTo>
                    <a:pt x="438993" y="10751"/>
                  </a:lnTo>
                  <a:lnTo>
                    <a:pt x="454282" y="16544"/>
                  </a:lnTo>
                  <a:lnTo>
                    <a:pt x="466545" y="26135"/>
                  </a:lnTo>
                  <a:lnTo>
                    <a:pt x="485986" y="32124"/>
                  </a:lnTo>
                  <a:lnTo>
                    <a:pt x="492578" y="29755"/>
                  </a:lnTo>
                  <a:lnTo>
                    <a:pt x="506886" y="36954"/>
                  </a:lnTo>
                  <a:lnTo>
                    <a:pt x="520371" y="30249"/>
                  </a:lnTo>
                  <a:lnTo>
                    <a:pt x="529043" y="32287"/>
                  </a:lnTo>
                  <a:lnTo>
                    <a:pt x="534446" y="27790"/>
                  </a:lnTo>
                  <a:lnTo>
                    <a:pt x="545044" y="39375"/>
                  </a:lnTo>
                  <a:lnTo>
                    <a:pt x="538893" y="51924"/>
                  </a:lnTo>
                  <a:lnTo>
                    <a:pt x="530128" y="61408"/>
                  </a:lnTo>
                  <a:lnTo>
                    <a:pt x="522196" y="62190"/>
                  </a:lnTo>
                  <a:lnTo>
                    <a:pt x="524870" y="71584"/>
                  </a:lnTo>
                  <a:lnTo>
                    <a:pt x="518089" y="83342"/>
                  </a:lnTo>
                  <a:lnTo>
                    <a:pt x="509890" y="94922"/>
                  </a:lnTo>
                  <a:lnTo>
                    <a:pt x="511541" y="101581"/>
                  </a:lnTo>
                  <a:lnTo>
                    <a:pt x="529892" y="114630"/>
                  </a:lnTo>
                  <a:lnTo>
                    <a:pt x="547669" y="122210"/>
                  </a:lnTo>
                  <a:lnTo>
                    <a:pt x="559560" y="130361"/>
                  </a:lnTo>
                  <a:lnTo>
                    <a:pt x="576243" y="144410"/>
                  </a:lnTo>
                  <a:lnTo>
                    <a:pt x="582751" y="144387"/>
                  </a:lnTo>
                  <a:lnTo>
                    <a:pt x="594832" y="150466"/>
                  </a:lnTo>
                  <a:lnTo>
                    <a:pt x="598341" y="157808"/>
                  </a:lnTo>
                  <a:lnTo>
                    <a:pt x="620377" y="165879"/>
                  </a:lnTo>
                  <a:lnTo>
                    <a:pt x="635617" y="157748"/>
                  </a:lnTo>
                  <a:lnTo>
                    <a:pt x="640133" y="144990"/>
                  </a:lnTo>
                  <a:lnTo>
                    <a:pt x="644818" y="134479"/>
                  </a:lnTo>
                  <a:lnTo>
                    <a:pt x="647684" y="121495"/>
                  </a:lnTo>
                  <a:lnTo>
                    <a:pt x="654700" y="102694"/>
                  </a:lnTo>
                  <a:lnTo>
                    <a:pt x="651496" y="91289"/>
                  </a:lnTo>
                  <a:lnTo>
                    <a:pt x="653161" y="84435"/>
                  </a:lnTo>
                  <a:lnTo>
                    <a:pt x="650492" y="70969"/>
                  </a:lnTo>
                  <a:lnTo>
                    <a:pt x="653517" y="53273"/>
                  </a:lnTo>
                  <a:lnTo>
                    <a:pt x="657943" y="48508"/>
                  </a:lnTo>
                  <a:lnTo>
                    <a:pt x="654350" y="40679"/>
                  </a:lnTo>
                  <a:lnTo>
                    <a:pt x="659928" y="28264"/>
                  </a:lnTo>
                  <a:lnTo>
                    <a:pt x="664309" y="15413"/>
                  </a:lnTo>
                  <a:lnTo>
                    <a:pt x="664892" y="874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39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579510" y="3295541"/>
              <a:ext cx="173114" cy="76581"/>
            </a:xfrm>
            <a:custGeom>
              <a:avLst/>
              <a:gdLst/>
              <a:ahLst/>
              <a:cxnLst/>
              <a:rect l="0" t="0" r="0" b="0"/>
              <a:pathLst>
                <a:path w="173114" h="76581">
                  <a:moveTo>
                    <a:pt x="173113" y="27143"/>
                  </a:moveTo>
                  <a:lnTo>
                    <a:pt x="171360" y="39169"/>
                  </a:lnTo>
                  <a:lnTo>
                    <a:pt x="158361" y="39226"/>
                  </a:lnTo>
                  <a:lnTo>
                    <a:pt x="162832" y="45582"/>
                  </a:lnTo>
                  <a:lnTo>
                    <a:pt x="155169" y="64374"/>
                  </a:lnTo>
                  <a:lnTo>
                    <a:pt x="150769" y="69278"/>
                  </a:lnTo>
                  <a:lnTo>
                    <a:pt x="130581" y="70002"/>
                  </a:lnTo>
                  <a:lnTo>
                    <a:pt x="118933" y="76580"/>
                  </a:lnTo>
                  <a:lnTo>
                    <a:pt x="99867" y="74335"/>
                  </a:lnTo>
                  <a:lnTo>
                    <a:pt x="66859" y="66840"/>
                  </a:lnTo>
                  <a:lnTo>
                    <a:pt x="61702" y="56713"/>
                  </a:lnTo>
                  <a:lnTo>
                    <a:pt x="38891" y="61778"/>
                  </a:lnTo>
                  <a:lnTo>
                    <a:pt x="36207" y="67311"/>
                  </a:lnTo>
                  <a:lnTo>
                    <a:pt x="22222" y="63176"/>
                  </a:lnTo>
                  <a:lnTo>
                    <a:pt x="10444" y="62385"/>
                  </a:lnTo>
                  <a:lnTo>
                    <a:pt x="0" y="57080"/>
                  </a:lnTo>
                  <a:lnTo>
                    <a:pt x="3530" y="49930"/>
                  </a:lnTo>
                  <a:lnTo>
                    <a:pt x="2637" y="44736"/>
                  </a:lnTo>
                  <a:lnTo>
                    <a:pt x="9604" y="43120"/>
                  </a:lnTo>
                  <a:lnTo>
                    <a:pt x="21284" y="51249"/>
                  </a:lnTo>
                  <a:lnTo>
                    <a:pt x="24572" y="43524"/>
                  </a:lnTo>
                  <a:lnTo>
                    <a:pt x="44929" y="44774"/>
                  </a:lnTo>
                  <a:lnTo>
                    <a:pt x="61432" y="39514"/>
                  </a:lnTo>
                  <a:lnTo>
                    <a:pt x="72498" y="40415"/>
                  </a:lnTo>
                  <a:lnTo>
                    <a:pt x="79696" y="46417"/>
                  </a:lnTo>
                  <a:lnTo>
                    <a:pt x="81848" y="41437"/>
                  </a:lnTo>
                  <a:lnTo>
                    <a:pt x="78576" y="22253"/>
                  </a:lnTo>
                  <a:lnTo>
                    <a:pt x="86869" y="18499"/>
                  </a:lnTo>
                  <a:lnTo>
                    <a:pt x="95007" y="4821"/>
                  </a:lnTo>
                  <a:lnTo>
                    <a:pt x="112157" y="14377"/>
                  </a:lnTo>
                  <a:lnTo>
                    <a:pt x="125142" y="2225"/>
                  </a:lnTo>
                  <a:lnTo>
                    <a:pt x="133266" y="0"/>
                  </a:lnTo>
                  <a:lnTo>
                    <a:pt x="151184" y="9079"/>
                  </a:lnTo>
                  <a:lnTo>
                    <a:pt x="162024" y="7537"/>
                  </a:lnTo>
                  <a:lnTo>
                    <a:pt x="172665" y="13142"/>
                  </a:lnTo>
                  <a:lnTo>
                    <a:pt x="170812" y="16904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40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5394652" y="3501477"/>
              <a:ext cx="129236" cy="97797"/>
            </a:xfrm>
            <a:custGeom>
              <a:avLst/>
              <a:gdLst/>
              <a:ahLst/>
              <a:cxnLst/>
              <a:rect l="l" t="t" r="r" b="b"/>
              <a:pathLst>
                <a:path w="129236" h="97797">
                  <a:moveTo>
                    <a:pt x="4801" y="58135"/>
                  </a:moveTo>
                  <a:lnTo>
                    <a:pt x="11637" y="65411"/>
                  </a:lnTo>
                  <a:lnTo>
                    <a:pt x="21836" y="65350"/>
                  </a:lnTo>
                  <a:lnTo>
                    <a:pt x="21729" y="69528"/>
                  </a:lnTo>
                  <a:lnTo>
                    <a:pt x="31153" y="85144"/>
                  </a:lnTo>
                  <a:lnTo>
                    <a:pt x="15320" y="81562"/>
                  </a:lnTo>
                  <a:lnTo>
                    <a:pt x="3663" y="69093"/>
                  </a:lnTo>
                  <a:lnTo>
                    <a:pt x="0" y="58868"/>
                  </a:lnTo>
                  <a:close/>
                  <a:moveTo>
                    <a:pt x="37185" y="0"/>
                  </a:moveTo>
                  <a:lnTo>
                    <a:pt x="43674" y="928"/>
                  </a:lnTo>
                  <a:lnTo>
                    <a:pt x="59537" y="17687"/>
                  </a:lnTo>
                  <a:lnTo>
                    <a:pt x="69748" y="19566"/>
                  </a:lnTo>
                  <a:lnTo>
                    <a:pt x="73709" y="12562"/>
                  </a:lnTo>
                  <a:lnTo>
                    <a:pt x="87491" y="1433"/>
                  </a:lnTo>
                  <a:lnTo>
                    <a:pt x="99631" y="15965"/>
                  </a:lnTo>
                  <a:lnTo>
                    <a:pt x="111372" y="35433"/>
                  </a:lnTo>
                  <a:lnTo>
                    <a:pt x="122126" y="36712"/>
                  </a:lnTo>
                  <a:lnTo>
                    <a:pt x="129236" y="44075"/>
                  </a:lnTo>
                  <a:lnTo>
                    <a:pt x="110224" y="46269"/>
                  </a:lnTo>
                  <a:lnTo>
                    <a:pt x="106209" y="67369"/>
                  </a:lnTo>
                  <a:lnTo>
                    <a:pt x="102238" y="76839"/>
                  </a:lnTo>
                  <a:lnTo>
                    <a:pt x="93774" y="83143"/>
                  </a:lnTo>
                  <a:lnTo>
                    <a:pt x="94390" y="96459"/>
                  </a:lnTo>
                  <a:lnTo>
                    <a:pt x="88646" y="97797"/>
                  </a:lnTo>
                  <a:lnTo>
                    <a:pt x="74251" y="83721"/>
                  </a:lnTo>
                  <a:lnTo>
                    <a:pt x="82209" y="70365"/>
                  </a:lnTo>
                  <a:lnTo>
                    <a:pt x="75390" y="62416"/>
                  </a:lnTo>
                  <a:lnTo>
                    <a:pt x="66734" y="64419"/>
                  </a:lnTo>
                  <a:lnTo>
                    <a:pt x="39511" y="84352"/>
                  </a:lnTo>
                  <a:lnTo>
                    <a:pt x="38998" y="65617"/>
                  </a:lnTo>
                  <a:lnTo>
                    <a:pt x="28635" y="61175"/>
                  </a:lnTo>
                  <a:lnTo>
                    <a:pt x="18836" y="53787"/>
                  </a:lnTo>
                  <a:lnTo>
                    <a:pt x="25342" y="45114"/>
                  </a:lnTo>
                  <a:lnTo>
                    <a:pt x="13046" y="35745"/>
                  </a:lnTo>
                  <a:lnTo>
                    <a:pt x="17689" y="28877"/>
                  </a:lnTo>
                  <a:lnTo>
                    <a:pt x="8898" y="24129"/>
                  </a:lnTo>
                  <a:lnTo>
                    <a:pt x="4120" y="16906"/>
                  </a:lnTo>
                  <a:lnTo>
                    <a:pt x="9774" y="12407"/>
                  </a:lnTo>
                  <a:lnTo>
                    <a:pt x="26974" y="20324"/>
                  </a:lnTo>
                  <a:lnTo>
                    <a:pt x="39417" y="21957"/>
                  </a:lnTo>
                  <a:lnTo>
                    <a:pt x="42562" y="18734"/>
                  </a:lnTo>
                  <a:lnTo>
                    <a:pt x="31194" y="381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41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5030660" y="4582190"/>
              <a:ext cx="39872" cy="49722"/>
            </a:xfrm>
            <a:custGeom>
              <a:avLst/>
              <a:gdLst/>
              <a:ahLst/>
              <a:cxnLst/>
              <a:rect l="0" t="0" r="0" b="0"/>
              <a:pathLst>
                <a:path w="39872" h="49722">
                  <a:moveTo>
                    <a:pt x="7272" y="49721"/>
                  </a:moveTo>
                  <a:lnTo>
                    <a:pt x="5804" y="21839"/>
                  </a:lnTo>
                  <a:lnTo>
                    <a:pt x="0" y="11335"/>
                  </a:lnTo>
                  <a:lnTo>
                    <a:pt x="14016" y="13151"/>
                  </a:lnTo>
                  <a:lnTo>
                    <a:pt x="21084" y="0"/>
                  </a:lnTo>
                  <a:lnTo>
                    <a:pt x="33349" y="1509"/>
                  </a:lnTo>
                  <a:lnTo>
                    <a:pt x="34687" y="10605"/>
                  </a:lnTo>
                  <a:lnTo>
                    <a:pt x="39658" y="15841"/>
                  </a:lnTo>
                  <a:lnTo>
                    <a:pt x="39871" y="23351"/>
                  </a:lnTo>
                  <a:lnTo>
                    <a:pt x="34177" y="28187"/>
                  </a:lnTo>
                  <a:lnTo>
                    <a:pt x="25192" y="40243"/>
                  </a:lnTo>
                  <a:lnTo>
                    <a:pt x="16817" y="4862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42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418707" y="3221910"/>
              <a:ext cx="84093" cy="58978"/>
            </a:xfrm>
            <a:custGeom>
              <a:avLst/>
              <a:gdLst/>
              <a:ahLst/>
              <a:cxnLst/>
              <a:rect l="0" t="0" r="0" b="0"/>
              <a:pathLst>
                <a:path w="84093" h="58978">
                  <a:moveTo>
                    <a:pt x="18498" y="3961"/>
                  </a:moveTo>
                  <a:lnTo>
                    <a:pt x="35397" y="6364"/>
                  </a:lnTo>
                  <a:lnTo>
                    <a:pt x="56793" y="0"/>
                  </a:lnTo>
                  <a:lnTo>
                    <a:pt x="71403" y="13389"/>
                  </a:lnTo>
                  <a:lnTo>
                    <a:pt x="84092" y="20504"/>
                  </a:lnTo>
                  <a:lnTo>
                    <a:pt x="81470" y="40976"/>
                  </a:lnTo>
                  <a:lnTo>
                    <a:pt x="75453" y="42114"/>
                  </a:lnTo>
                  <a:lnTo>
                    <a:pt x="72952" y="58977"/>
                  </a:lnTo>
                  <a:lnTo>
                    <a:pt x="52758" y="45278"/>
                  </a:lnTo>
                  <a:lnTo>
                    <a:pt x="40912" y="47623"/>
                  </a:lnTo>
                  <a:lnTo>
                    <a:pt x="24804" y="33392"/>
                  </a:lnTo>
                  <a:lnTo>
                    <a:pt x="14072" y="21215"/>
                  </a:lnTo>
                  <a:lnTo>
                    <a:pt x="3343" y="20713"/>
                  </a:lnTo>
                  <a:lnTo>
                    <a:pt x="0" y="999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43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78514" y="4244155"/>
              <a:ext cx="69821" cy="141865"/>
            </a:xfrm>
            <a:custGeom>
              <a:avLst/>
              <a:gdLst/>
              <a:ahLst/>
              <a:cxnLst/>
              <a:rect l="0" t="0" r="0" b="0"/>
              <a:pathLst>
                <a:path w="69821" h="141865">
                  <a:moveTo>
                    <a:pt x="44304" y="139161"/>
                  </a:moveTo>
                  <a:lnTo>
                    <a:pt x="25227" y="141864"/>
                  </a:lnTo>
                  <a:lnTo>
                    <a:pt x="19542" y="125874"/>
                  </a:lnTo>
                  <a:lnTo>
                    <a:pt x="20593" y="72530"/>
                  </a:lnTo>
                  <a:lnTo>
                    <a:pt x="15943" y="67735"/>
                  </a:lnTo>
                  <a:lnTo>
                    <a:pt x="15067" y="56304"/>
                  </a:lnTo>
                  <a:lnTo>
                    <a:pt x="7051" y="48141"/>
                  </a:lnTo>
                  <a:lnTo>
                    <a:pt x="0" y="41256"/>
                  </a:lnTo>
                  <a:lnTo>
                    <a:pt x="2937" y="28964"/>
                  </a:lnTo>
                  <a:lnTo>
                    <a:pt x="10875" y="26320"/>
                  </a:lnTo>
                  <a:lnTo>
                    <a:pt x="15577" y="16101"/>
                  </a:lnTo>
                  <a:lnTo>
                    <a:pt x="26860" y="13916"/>
                  </a:lnTo>
                  <a:lnTo>
                    <a:pt x="31904" y="6919"/>
                  </a:lnTo>
                  <a:lnTo>
                    <a:pt x="39652" y="61"/>
                  </a:lnTo>
                  <a:lnTo>
                    <a:pt x="47927" y="0"/>
                  </a:lnTo>
                  <a:lnTo>
                    <a:pt x="65528" y="13471"/>
                  </a:lnTo>
                  <a:lnTo>
                    <a:pt x="64629" y="21239"/>
                  </a:lnTo>
                  <a:lnTo>
                    <a:pt x="69820" y="35096"/>
                  </a:lnTo>
                  <a:lnTo>
                    <a:pt x="65272" y="44489"/>
                  </a:lnTo>
                  <a:lnTo>
                    <a:pt x="67704" y="50762"/>
                  </a:lnTo>
                  <a:lnTo>
                    <a:pt x="56507" y="65185"/>
                  </a:lnTo>
                  <a:lnTo>
                    <a:pt x="49396" y="72321"/>
                  </a:lnTo>
                  <a:lnTo>
                    <a:pt x="45045" y="86991"/>
                  </a:lnTo>
                  <a:lnTo>
                    <a:pt x="45628" y="10177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44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234411" y="4176430"/>
              <a:ext cx="176530" cy="129029"/>
            </a:xfrm>
            <a:custGeom>
              <a:avLst/>
              <a:gdLst/>
              <a:ahLst/>
              <a:cxnLst/>
              <a:rect l="0" t="0" r="0" b="0"/>
              <a:pathLst>
                <a:path w="176530" h="129029">
                  <a:moveTo>
                    <a:pt x="61009" y="128291"/>
                  </a:moveTo>
                  <a:lnTo>
                    <a:pt x="45211" y="122283"/>
                  </a:lnTo>
                  <a:lnTo>
                    <a:pt x="34396" y="123168"/>
                  </a:lnTo>
                  <a:lnTo>
                    <a:pt x="26322" y="129028"/>
                  </a:lnTo>
                  <a:lnTo>
                    <a:pt x="15943" y="124109"/>
                  </a:lnTo>
                  <a:lnTo>
                    <a:pt x="11909" y="116400"/>
                  </a:lnTo>
                  <a:lnTo>
                    <a:pt x="1529" y="111315"/>
                  </a:lnTo>
                  <a:lnTo>
                    <a:pt x="0" y="97765"/>
                  </a:lnTo>
                  <a:lnTo>
                    <a:pt x="6295" y="87861"/>
                  </a:lnTo>
                  <a:lnTo>
                    <a:pt x="5762" y="79940"/>
                  </a:lnTo>
                  <a:lnTo>
                    <a:pt x="24084" y="60532"/>
                  </a:lnTo>
                  <a:lnTo>
                    <a:pt x="27472" y="44441"/>
                  </a:lnTo>
                  <a:lnTo>
                    <a:pt x="33797" y="38709"/>
                  </a:lnTo>
                  <a:lnTo>
                    <a:pt x="44960" y="41876"/>
                  </a:lnTo>
                  <a:lnTo>
                    <a:pt x="54634" y="37093"/>
                  </a:lnTo>
                  <a:lnTo>
                    <a:pt x="57773" y="31053"/>
                  </a:lnTo>
                  <a:lnTo>
                    <a:pt x="75682" y="20505"/>
                  </a:lnTo>
                  <a:lnTo>
                    <a:pt x="80086" y="13141"/>
                  </a:lnTo>
                  <a:lnTo>
                    <a:pt x="101661" y="3359"/>
                  </a:lnTo>
                  <a:lnTo>
                    <a:pt x="114368" y="0"/>
                  </a:lnTo>
                  <a:lnTo>
                    <a:pt x="120129" y="4527"/>
                  </a:lnTo>
                  <a:lnTo>
                    <a:pt x="134929" y="4419"/>
                  </a:lnTo>
                  <a:lnTo>
                    <a:pt x="133100" y="15846"/>
                  </a:lnTo>
                  <a:lnTo>
                    <a:pt x="136199" y="26570"/>
                  </a:lnTo>
                  <a:lnTo>
                    <a:pt x="149198" y="41921"/>
                  </a:lnTo>
                  <a:lnTo>
                    <a:pt x="149914" y="53281"/>
                  </a:lnTo>
                  <a:lnTo>
                    <a:pt x="176529" y="58600"/>
                  </a:lnTo>
                  <a:lnTo>
                    <a:pt x="176007" y="74644"/>
                  </a:lnTo>
                  <a:lnTo>
                    <a:pt x="170963" y="81641"/>
                  </a:lnTo>
                  <a:lnTo>
                    <a:pt x="159680" y="83826"/>
                  </a:lnTo>
                  <a:lnTo>
                    <a:pt x="154978" y="94045"/>
                  </a:lnTo>
                  <a:lnTo>
                    <a:pt x="147040" y="96689"/>
                  </a:lnTo>
                  <a:lnTo>
                    <a:pt x="126825" y="96191"/>
                  </a:lnTo>
                  <a:lnTo>
                    <a:pt x="116149" y="94330"/>
                  </a:lnTo>
                  <a:lnTo>
                    <a:pt x="108696" y="98100"/>
                  </a:lnTo>
                  <a:lnTo>
                    <a:pt x="98499" y="96398"/>
                  </a:lnTo>
                  <a:lnTo>
                    <a:pt x="58403" y="97498"/>
                  </a:lnTo>
                  <a:lnTo>
                    <a:pt x="57861" y="11074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45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6393910" y="3903148"/>
              <a:ext cx="105912" cy="140919"/>
            </a:xfrm>
            <a:custGeom>
              <a:avLst/>
              <a:gdLst/>
              <a:ahLst/>
              <a:cxnLst/>
              <a:rect l="0" t="0" r="0" b="0"/>
              <a:pathLst>
                <a:path w="105912" h="140919">
                  <a:moveTo>
                    <a:pt x="105911" y="107825"/>
                  </a:moveTo>
                  <a:lnTo>
                    <a:pt x="105439" y="125169"/>
                  </a:lnTo>
                  <a:lnTo>
                    <a:pt x="97382" y="121511"/>
                  </a:lnTo>
                  <a:lnTo>
                    <a:pt x="98890" y="140918"/>
                  </a:lnTo>
                  <a:lnTo>
                    <a:pt x="92296" y="128351"/>
                  </a:lnTo>
                  <a:lnTo>
                    <a:pt x="90965" y="116046"/>
                  </a:lnTo>
                  <a:lnTo>
                    <a:pt x="86572" y="104392"/>
                  </a:lnTo>
                  <a:lnTo>
                    <a:pt x="76927" y="90266"/>
                  </a:lnTo>
                  <a:lnTo>
                    <a:pt x="55666" y="89294"/>
                  </a:lnTo>
                  <a:lnTo>
                    <a:pt x="57766" y="99303"/>
                  </a:lnTo>
                  <a:lnTo>
                    <a:pt x="50518" y="112785"/>
                  </a:lnTo>
                  <a:lnTo>
                    <a:pt x="40696" y="107876"/>
                  </a:lnTo>
                  <a:lnTo>
                    <a:pt x="37340" y="112283"/>
                  </a:lnTo>
                  <a:lnTo>
                    <a:pt x="30803" y="109643"/>
                  </a:lnTo>
                  <a:lnTo>
                    <a:pt x="21872" y="107475"/>
                  </a:lnTo>
                  <a:lnTo>
                    <a:pt x="18280" y="87492"/>
                  </a:lnTo>
                  <a:lnTo>
                    <a:pt x="10280" y="69177"/>
                  </a:lnTo>
                  <a:lnTo>
                    <a:pt x="14209" y="54453"/>
                  </a:lnTo>
                  <a:lnTo>
                    <a:pt x="0" y="47893"/>
                  </a:lnTo>
                  <a:lnTo>
                    <a:pt x="5124" y="38955"/>
                  </a:lnTo>
                  <a:lnTo>
                    <a:pt x="19555" y="29800"/>
                  </a:lnTo>
                  <a:lnTo>
                    <a:pt x="2894" y="16762"/>
                  </a:lnTo>
                  <a:lnTo>
                    <a:pt x="11049" y="0"/>
                  </a:lnTo>
                  <a:lnTo>
                    <a:pt x="29331" y="10683"/>
                  </a:lnTo>
                  <a:lnTo>
                    <a:pt x="40350" y="11901"/>
                  </a:lnTo>
                  <a:lnTo>
                    <a:pt x="42387" y="29036"/>
                  </a:lnTo>
                  <a:lnTo>
                    <a:pt x="64350" y="32408"/>
                  </a:lnTo>
                  <a:lnTo>
                    <a:pt x="85757" y="32044"/>
                  </a:lnTo>
                  <a:lnTo>
                    <a:pt x="99066" y="36239"/>
                  </a:lnTo>
                  <a:lnTo>
                    <a:pt x="88423" y="56981"/>
                  </a:lnTo>
                  <a:lnTo>
                    <a:pt x="78097" y="58394"/>
                  </a:lnTo>
                  <a:lnTo>
                    <a:pt x="70969" y="72290"/>
                  </a:lnTo>
                  <a:lnTo>
                    <a:pt x="83607" y="84912"/>
                  </a:lnTo>
                  <a:lnTo>
                    <a:pt x="87380" y="69343"/>
                  </a:lnTo>
                  <a:lnTo>
                    <a:pt x="93754" y="6926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46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877289" y="3435021"/>
              <a:ext cx="142596" cy="83738"/>
            </a:xfrm>
            <a:custGeom>
              <a:avLst/>
              <a:gdLst/>
              <a:ahLst/>
              <a:cxnLst/>
              <a:rect l="0" t="0" r="0" b="0"/>
              <a:pathLst>
                <a:path w="142596" h="83738">
                  <a:moveTo>
                    <a:pt x="6385" y="0"/>
                  </a:moveTo>
                  <a:lnTo>
                    <a:pt x="13026" y="11617"/>
                  </a:lnTo>
                  <a:lnTo>
                    <a:pt x="21969" y="9551"/>
                  </a:lnTo>
                  <a:lnTo>
                    <a:pt x="39705" y="13949"/>
                  </a:lnTo>
                  <a:lnTo>
                    <a:pt x="73605" y="15430"/>
                  </a:lnTo>
                  <a:lnTo>
                    <a:pt x="85051" y="8239"/>
                  </a:lnTo>
                  <a:lnTo>
                    <a:pt x="112225" y="1668"/>
                  </a:lnTo>
                  <a:lnTo>
                    <a:pt x="129022" y="11936"/>
                  </a:lnTo>
                  <a:lnTo>
                    <a:pt x="142595" y="14895"/>
                  </a:lnTo>
                  <a:lnTo>
                    <a:pt x="130615" y="26541"/>
                  </a:lnTo>
                  <a:lnTo>
                    <a:pt x="122185" y="46539"/>
                  </a:lnTo>
                  <a:lnTo>
                    <a:pt x="129637" y="62393"/>
                  </a:lnTo>
                  <a:lnTo>
                    <a:pt x="109763" y="58674"/>
                  </a:lnTo>
                  <a:lnTo>
                    <a:pt x="86249" y="67390"/>
                  </a:lnTo>
                  <a:lnTo>
                    <a:pt x="85997" y="81138"/>
                  </a:lnTo>
                  <a:lnTo>
                    <a:pt x="65016" y="83737"/>
                  </a:lnTo>
                  <a:lnTo>
                    <a:pt x="48753" y="74106"/>
                  </a:lnTo>
                  <a:lnTo>
                    <a:pt x="30274" y="81684"/>
                  </a:lnTo>
                  <a:lnTo>
                    <a:pt x="13200" y="80887"/>
                  </a:lnTo>
                  <a:lnTo>
                    <a:pt x="11561" y="62617"/>
                  </a:lnTo>
                  <a:lnTo>
                    <a:pt x="0" y="53708"/>
                  </a:lnTo>
                  <a:lnTo>
                    <a:pt x="3797" y="49784"/>
                  </a:lnTo>
                  <a:lnTo>
                    <a:pt x="1294" y="46471"/>
                  </a:lnTo>
                  <a:lnTo>
                    <a:pt x="5177" y="37591"/>
                  </a:lnTo>
                  <a:lnTo>
                    <a:pt x="13976" y="28840"/>
                  </a:lnTo>
                  <a:lnTo>
                    <a:pt x="2761" y="16715"/>
                  </a:lnTo>
                  <a:lnTo>
                    <a:pt x="690" y="641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47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724239" y="3406597"/>
              <a:ext cx="88864" cy="72954"/>
            </a:xfrm>
            <a:custGeom>
              <a:avLst/>
              <a:gdLst/>
              <a:ahLst/>
              <a:cxnLst/>
              <a:rect l="0" t="0" r="0" b="0"/>
              <a:pathLst>
                <a:path w="88864" h="72954">
                  <a:moveTo>
                    <a:pt x="75145" y="10663"/>
                  </a:moveTo>
                  <a:lnTo>
                    <a:pt x="83513" y="10584"/>
                  </a:lnTo>
                  <a:lnTo>
                    <a:pt x="77733" y="23091"/>
                  </a:lnTo>
                  <a:lnTo>
                    <a:pt x="88863" y="33980"/>
                  </a:lnTo>
                  <a:lnTo>
                    <a:pt x="85498" y="47242"/>
                  </a:lnTo>
                  <a:lnTo>
                    <a:pt x="80062" y="48486"/>
                  </a:lnTo>
                  <a:lnTo>
                    <a:pt x="75749" y="51053"/>
                  </a:lnTo>
                  <a:lnTo>
                    <a:pt x="68243" y="57574"/>
                  </a:lnTo>
                  <a:lnTo>
                    <a:pt x="64862" y="72953"/>
                  </a:lnTo>
                  <a:lnTo>
                    <a:pt x="44432" y="62379"/>
                  </a:lnTo>
                  <a:lnTo>
                    <a:pt x="35717" y="50664"/>
                  </a:lnTo>
                  <a:lnTo>
                    <a:pt x="26918" y="44438"/>
                  </a:lnTo>
                  <a:lnTo>
                    <a:pt x="16306" y="33902"/>
                  </a:lnTo>
                  <a:lnTo>
                    <a:pt x="11302" y="25131"/>
                  </a:lnTo>
                  <a:lnTo>
                    <a:pt x="0" y="11846"/>
                  </a:lnTo>
                  <a:lnTo>
                    <a:pt x="4832" y="0"/>
                  </a:lnTo>
                  <a:lnTo>
                    <a:pt x="13114" y="6561"/>
                  </a:lnTo>
                  <a:lnTo>
                    <a:pt x="18118" y="634"/>
                  </a:lnTo>
                  <a:lnTo>
                    <a:pt x="28903" y="0"/>
                  </a:lnTo>
                  <a:lnTo>
                    <a:pt x="48745" y="4745"/>
                  </a:lnTo>
                  <a:lnTo>
                    <a:pt x="64706" y="434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48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896193" y="3073544"/>
              <a:ext cx="219151" cy="153132"/>
            </a:xfrm>
            <a:custGeom>
              <a:avLst/>
              <a:gdLst/>
              <a:ahLst/>
              <a:cxnLst/>
              <a:rect l="0" t="0" r="0" b="0"/>
              <a:pathLst>
                <a:path w="219151" h="153132">
                  <a:moveTo>
                    <a:pt x="6570" y="72461"/>
                  </a:moveTo>
                  <a:lnTo>
                    <a:pt x="28881" y="72676"/>
                  </a:lnTo>
                  <a:lnTo>
                    <a:pt x="53941" y="60733"/>
                  </a:lnTo>
                  <a:lnTo>
                    <a:pt x="59298" y="42722"/>
                  </a:lnTo>
                  <a:lnTo>
                    <a:pt x="78222" y="32446"/>
                  </a:lnTo>
                  <a:lnTo>
                    <a:pt x="76053" y="17996"/>
                  </a:lnTo>
                  <a:lnTo>
                    <a:pt x="90091" y="12547"/>
                  </a:lnTo>
                  <a:lnTo>
                    <a:pt x="114887" y="0"/>
                  </a:lnTo>
                  <a:lnTo>
                    <a:pt x="139189" y="8164"/>
                  </a:lnTo>
                  <a:lnTo>
                    <a:pt x="142468" y="16216"/>
                  </a:lnTo>
                  <a:lnTo>
                    <a:pt x="154580" y="12347"/>
                  </a:lnTo>
                  <a:lnTo>
                    <a:pt x="177146" y="20070"/>
                  </a:lnTo>
                  <a:lnTo>
                    <a:pt x="179406" y="35198"/>
                  </a:lnTo>
                  <a:lnTo>
                    <a:pt x="174460" y="43849"/>
                  </a:lnTo>
                  <a:lnTo>
                    <a:pt x="188931" y="64714"/>
                  </a:lnTo>
                  <a:lnTo>
                    <a:pt x="198325" y="70495"/>
                  </a:lnTo>
                  <a:lnTo>
                    <a:pt x="196936" y="76205"/>
                  </a:lnTo>
                  <a:lnTo>
                    <a:pt x="212501" y="81756"/>
                  </a:lnTo>
                  <a:lnTo>
                    <a:pt x="219150" y="90143"/>
                  </a:lnTo>
                  <a:lnTo>
                    <a:pt x="210168" y="97000"/>
                  </a:lnTo>
                  <a:lnTo>
                    <a:pt x="191543" y="95913"/>
                  </a:lnTo>
                  <a:lnTo>
                    <a:pt x="187101" y="98838"/>
                  </a:lnTo>
                  <a:lnTo>
                    <a:pt x="192522" y="109202"/>
                  </a:lnTo>
                  <a:lnTo>
                    <a:pt x="198199" y="129073"/>
                  </a:lnTo>
                  <a:lnTo>
                    <a:pt x="178384" y="130906"/>
                  </a:lnTo>
                  <a:lnTo>
                    <a:pt x="171272" y="137677"/>
                  </a:lnTo>
                  <a:lnTo>
                    <a:pt x="169787" y="153131"/>
                  </a:lnTo>
                  <a:lnTo>
                    <a:pt x="160606" y="150171"/>
                  </a:lnTo>
                  <a:lnTo>
                    <a:pt x="139776" y="151639"/>
                  </a:lnTo>
                  <a:lnTo>
                    <a:pt x="133726" y="144467"/>
                  </a:lnTo>
                  <a:lnTo>
                    <a:pt x="125064" y="149816"/>
                  </a:lnTo>
                  <a:lnTo>
                    <a:pt x="116386" y="145383"/>
                  </a:lnTo>
                  <a:lnTo>
                    <a:pt x="98207" y="144767"/>
                  </a:lnTo>
                  <a:lnTo>
                    <a:pt x="72444" y="137385"/>
                  </a:lnTo>
                  <a:lnTo>
                    <a:pt x="49126" y="134970"/>
                  </a:lnTo>
                  <a:lnTo>
                    <a:pt x="31245" y="135654"/>
                  </a:lnTo>
                  <a:lnTo>
                    <a:pt x="18595" y="143994"/>
                  </a:lnTo>
                  <a:lnTo>
                    <a:pt x="7561" y="145192"/>
                  </a:lnTo>
                  <a:lnTo>
                    <a:pt x="7121" y="131484"/>
                  </a:lnTo>
                  <a:lnTo>
                    <a:pt x="0" y="117136"/>
                  </a:lnTo>
                  <a:lnTo>
                    <a:pt x="13843" y="110789"/>
                  </a:lnTo>
                  <a:lnTo>
                    <a:pt x="13975" y="98346"/>
                  </a:lnTo>
                  <a:lnTo>
                    <a:pt x="7572" y="8641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49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6996821" y="4402101"/>
              <a:ext cx="28778" cy="33315"/>
            </a:xfrm>
            <a:custGeom>
              <a:avLst/>
              <a:gdLst/>
              <a:ahLst/>
              <a:cxnLst/>
              <a:rect l="0" t="0" r="0" b="0"/>
              <a:pathLst>
                <a:path w="28778" h="33315">
                  <a:moveTo>
                    <a:pt x="0" y="21331"/>
                  </a:moveTo>
                  <a:lnTo>
                    <a:pt x="9139" y="12676"/>
                  </a:lnTo>
                  <a:lnTo>
                    <a:pt x="28777" y="0"/>
                  </a:lnTo>
                  <a:lnTo>
                    <a:pt x="27738" y="11398"/>
                  </a:lnTo>
                  <a:lnTo>
                    <a:pt x="26394" y="26170"/>
                  </a:lnTo>
                  <a:lnTo>
                    <a:pt x="15363" y="25437"/>
                  </a:lnTo>
                  <a:lnTo>
                    <a:pt x="10516" y="3331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50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6410757" y="3857125"/>
              <a:ext cx="75931" cy="39265"/>
            </a:xfrm>
            <a:custGeom>
              <a:avLst/>
              <a:gdLst/>
              <a:ahLst/>
              <a:cxnLst/>
              <a:rect l="0" t="0" r="0" b="0"/>
              <a:pathLst>
                <a:path w="75931" h="39265">
                  <a:moveTo>
                    <a:pt x="66534" y="13103"/>
                  </a:moveTo>
                  <a:lnTo>
                    <a:pt x="75930" y="21053"/>
                  </a:lnTo>
                  <a:lnTo>
                    <a:pt x="74309" y="36316"/>
                  </a:lnTo>
                  <a:lnTo>
                    <a:pt x="55474" y="37052"/>
                  </a:lnTo>
                  <a:lnTo>
                    <a:pt x="35986" y="35388"/>
                  </a:lnTo>
                  <a:lnTo>
                    <a:pt x="21473" y="39264"/>
                  </a:lnTo>
                  <a:lnTo>
                    <a:pt x="494" y="29846"/>
                  </a:lnTo>
                  <a:lnTo>
                    <a:pt x="0" y="24867"/>
                  </a:lnTo>
                  <a:lnTo>
                    <a:pt x="15271" y="6340"/>
                  </a:lnTo>
                  <a:lnTo>
                    <a:pt x="27736" y="0"/>
                  </a:lnTo>
                  <a:lnTo>
                    <a:pt x="44232" y="5786"/>
                  </a:lnTo>
                  <a:lnTo>
                    <a:pt x="56428" y="639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51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819927" y="4939848"/>
              <a:ext cx="220134" cy="222411"/>
            </a:xfrm>
            <a:custGeom>
              <a:avLst/>
              <a:gdLst/>
              <a:ahLst/>
              <a:cxnLst/>
              <a:rect l="0" t="0" r="0" b="0"/>
              <a:pathLst>
                <a:path w="220134" h="222411">
                  <a:moveTo>
                    <a:pt x="132811" y="20842"/>
                  </a:moveTo>
                  <a:lnTo>
                    <a:pt x="137456" y="25103"/>
                  </a:lnTo>
                  <a:lnTo>
                    <a:pt x="144713" y="38945"/>
                  </a:lnTo>
                  <a:lnTo>
                    <a:pt x="170836" y="65305"/>
                  </a:lnTo>
                  <a:lnTo>
                    <a:pt x="180721" y="67892"/>
                  </a:lnTo>
                  <a:lnTo>
                    <a:pt x="180778" y="76386"/>
                  </a:lnTo>
                  <a:lnTo>
                    <a:pt x="187568" y="91688"/>
                  </a:lnTo>
                  <a:lnTo>
                    <a:pt x="205417" y="95397"/>
                  </a:lnTo>
                  <a:lnTo>
                    <a:pt x="220133" y="106333"/>
                  </a:lnTo>
                  <a:lnTo>
                    <a:pt x="187472" y="124204"/>
                  </a:lnTo>
                  <a:lnTo>
                    <a:pt x="166748" y="142382"/>
                  </a:lnTo>
                  <a:lnTo>
                    <a:pt x="159061" y="158662"/>
                  </a:lnTo>
                  <a:lnTo>
                    <a:pt x="152121" y="167863"/>
                  </a:lnTo>
                  <a:lnTo>
                    <a:pt x="139562" y="169826"/>
                  </a:lnTo>
                  <a:lnTo>
                    <a:pt x="135504" y="181575"/>
                  </a:lnTo>
                  <a:lnTo>
                    <a:pt x="133169" y="189252"/>
                  </a:lnTo>
                  <a:lnTo>
                    <a:pt x="118407" y="194989"/>
                  </a:lnTo>
                  <a:lnTo>
                    <a:pt x="99620" y="193770"/>
                  </a:lnTo>
                  <a:lnTo>
                    <a:pt x="88594" y="186871"/>
                  </a:lnTo>
                  <a:lnTo>
                    <a:pt x="78865" y="183883"/>
                  </a:lnTo>
                  <a:lnTo>
                    <a:pt x="67605" y="189588"/>
                  </a:lnTo>
                  <a:lnTo>
                    <a:pt x="61956" y="201399"/>
                  </a:lnTo>
                  <a:lnTo>
                    <a:pt x="51025" y="208831"/>
                  </a:lnTo>
                  <a:lnTo>
                    <a:pt x="39481" y="219880"/>
                  </a:lnTo>
                  <a:lnTo>
                    <a:pt x="22948" y="222410"/>
                  </a:lnTo>
                  <a:lnTo>
                    <a:pt x="17797" y="213710"/>
                  </a:lnTo>
                  <a:lnTo>
                    <a:pt x="19924" y="198651"/>
                  </a:lnTo>
                  <a:lnTo>
                    <a:pt x="6238" y="175264"/>
                  </a:lnTo>
                  <a:lnTo>
                    <a:pt x="7" y="171578"/>
                  </a:lnTo>
                  <a:lnTo>
                    <a:pt x="0" y="100470"/>
                  </a:lnTo>
                  <a:lnTo>
                    <a:pt x="22752" y="99627"/>
                  </a:lnTo>
                  <a:lnTo>
                    <a:pt x="23433" y="14069"/>
                  </a:lnTo>
                  <a:lnTo>
                    <a:pt x="40616" y="13280"/>
                  </a:lnTo>
                  <a:lnTo>
                    <a:pt x="76205" y="4935"/>
                  </a:lnTo>
                  <a:lnTo>
                    <a:pt x="85026" y="14762"/>
                  </a:lnTo>
                  <a:lnTo>
                    <a:pt x="99761" y="5419"/>
                  </a:lnTo>
                  <a:lnTo>
                    <a:pt x="106763" y="5366"/>
                  </a:lnTo>
                  <a:lnTo>
                    <a:pt x="119775" y="0"/>
                  </a:lnTo>
                  <a:lnTo>
                    <a:pt x="123925" y="177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52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694448" y="4269730"/>
              <a:ext cx="298110" cy="205890"/>
            </a:xfrm>
            <a:custGeom>
              <a:avLst/>
              <a:gdLst/>
              <a:ahLst/>
              <a:cxnLst/>
              <a:rect l="0" t="0" r="0" b="0"/>
              <a:pathLst>
                <a:path w="298110" h="205890">
                  <a:moveTo>
                    <a:pt x="18929" y="86615"/>
                  </a:moveTo>
                  <a:lnTo>
                    <a:pt x="38014" y="84871"/>
                  </a:lnTo>
                  <a:lnTo>
                    <a:pt x="42268" y="78900"/>
                  </a:lnTo>
                  <a:lnTo>
                    <a:pt x="46091" y="79353"/>
                  </a:lnTo>
                  <a:lnTo>
                    <a:pt x="51857" y="84610"/>
                  </a:lnTo>
                  <a:lnTo>
                    <a:pt x="80917" y="75728"/>
                  </a:lnTo>
                  <a:lnTo>
                    <a:pt x="90718" y="66658"/>
                  </a:lnTo>
                  <a:lnTo>
                    <a:pt x="102755" y="58533"/>
                  </a:lnTo>
                  <a:lnTo>
                    <a:pt x="100470" y="50345"/>
                  </a:lnTo>
                  <a:lnTo>
                    <a:pt x="106979" y="48206"/>
                  </a:lnTo>
                  <a:lnTo>
                    <a:pt x="129270" y="49652"/>
                  </a:lnTo>
                  <a:lnTo>
                    <a:pt x="150995" y="38869"/>
                  </a:lnTo>
                  <a:lnTo>
                    <a:pt x="167682" y="13435"/>
                  </a:lnTo>
                  <a:lnTo>
                    <a:pt x="179392" y="3984"/>
                  </a:lnTo>
                  <a:lnTo>
                    <a:pt x="194005" y="0"/>
                  </a:lnTo>
                  <a:lnTo>
                    <a:pt x="196622" y="9994"/>
                  </a:lnTo>
                  <a:lnTo>
                    <a:pt x="209935" y="24580"/>
                  </a:lnTo>
                  <a:lnTo>
                    <a:pt x="210003" y="34088"/>
                  </a:lnTo>
                  <a:lnTo>
                    <a:pt x="206252" y="43779"/>
                  </a:lnTo>
                  <a:lnTo>
                    <a:pt x="207735" y="51011"/>
                  </a:lnTo>
                  <a:lnTo>
                    <a:pt x="215740" y="57709"/>
                  </a:lnTo>
                  <a:lnTo>
                    <a:pt x="233319" y="67870"/>
                  </a:lnTo>
                  <a:lnTo>
                    <a:pt x="245958" y="77256"/>
                  </a:lnTo>
                  <a:lnTo>
                    <a:pt x="246171" y="84801"/>
                  </a:lnTo>
                  <a:lnTo>
                    <a:pt x="261694" y="96884"/>
                  </a:lnTo>
                  <a:lnTo>
                    <a:pt x="271314" y="106916"/>
                  </a:lnTo>
                  <a:lnTo>
                    <a:pt x="277142" y="120816"/>
                  </a:lnTo>
                  <a:lnTo>
                    <a:pt x="294397" y="129981"/>
                  </a:lnTo>
                  <a:lnTo>
                    <a:pt x="298109" y="137320"/>
                  </a:lnTo>
                  <a:lnTo>
                    <a:pt x="290488" y="139775"/>
                  </a:lnTo>
                  <a:lnTo>
                    <a:pt x="275685" y="139242"/>
                  </a:lnTo>
                  <a:lnTo>
                    <a:pt x="258319" y="136807"/>
                  </a:lnTo>
                  <a:lnTo>
                    <a:pt x="249741" y="138790"/>
                  </a:lnTo>
                  <a:lnTo>
                    <a:pt x="246279" y="144417"/>
                  </a:lnTo>
                  <a:lnTo>
                    <a:pt x="238805" y="145111"/>
                  </a:lnTo>
                  <a:lnTo>
                    <a:pt x="229699" y="140216"/>
                  </a:lnTo>
                  <a:lnTo>
                    <a:pt x="204001" y="151763"/>
                  </a:lnTo>
                  <a:lnTo>
                    <a:pt x="193481" y="149440"/>
                  </a:lnTo>
                  <a:lnTo>
                    <a:pt x="190310" y="151223"/>
                  </a:lnTo>
                  <a:lnTo>
                    <a:pt x="183409" y="165188"/>
                  </a:lnTo>
                  <a:lnTo>
                    <a:pt x="166189" y="160675"/>
                  </a:lnTo>
                  <a:lnTo>
                    <a:pt x="149303" y="158399"/>
                  </a:lnTo>
                  <a:lnTo>
                    <a:pt x="134602" y="149867"/>
                  </a:lnTo>
                  <a:lnTo>
                    <a:pt x="115607" y="142004"/>
                  </a:lnTo>
                  <a:lnTo>
                    <a:pt x="103247" y="149454"/>
                  </a:lnTo>
                  <a:lnTo>
                    <a:pt x="94260" y="161196"/>
                  </a:lnTo>
                  <a:lnTo>
                    <a:pt x="92185" y="177318"/>
                  </a:lnTo>
                  <a:lnTo>
                    <a:pt x="77339" y="176028"/>
                  </a:lnTo>
                  <a:lnTo>
                    <a:pt x="61715" y="172145"/>
                  </a:lnTo>
                  <a:lnTo>
                    <a:pt x="47958" y="184392"/>
                  </a:lnTo>
                  <a:lnTo>
                    <a:pt x="35858" y="205889"/>
                  </a:lnTo>
                  <a:lnTo>
                    <a:pt x="33423" y="199197"/>
                  </a:lnTo>
                  <a:lnTo>
                    <a:pt x="32393" y="188659"/>
                  </a:lnTo>
                  <a:lnTo>
                    <a:pt x="21836" y="181225"/>
                  </a:lnTo>
                  <a:lnTo>
                    <a:pt x="13315" y="169298"/>
                  </a:lnTo>
                  <a:lnTo>
                    <a:pt x="11347" y="160998"/>
                  </a:lnTo>
                  <a:lnTo>
                    <a:pt x="438" y="148920"/>
                  </a:lnTo>
                  <a:lnTo>
                    <a:pt x="2297" y="142026"/>
                  </a:lnTo>
                  <a:lnTo>
                    <a:pt x="0" y="132278"/>
                  </a:lnTo>
                  <a:lnTo>
                    <a:pt x="1781" y="114324"/>
                  </a:lnTo>
                  <a:lnTo>
                    <a:pt x="7321" y="11011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53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6061310" y="3160312"/>
              <a:ext cx="1416144" cy="943012"/>
            </a:xfrm>
            <a:custGeom>
              <a:avLst/>
              <a:gdLst/>
              <a:ahLst/>
              <a:cxnLst/>
              <a:rect l="l" t="t" r="r" b="b"/>
              <a:pathLst>
                <a:path w="1416144" h="943012">
                  <a:moveTo>
                    <a:pt x="843354" y="897452"/>
                  </a:moveTo>
                  <a:lnTo>
                    <a:pt x="856626" y="898022"/>
                  </a:lnTo>
                  <a:lnTo>
                    <a:pt x="861784" y="907181"/>
                  </a:lnTo>
                  <a:lnTo>
                    <a:pt x="851642" y="917726"/>
                  </a:lnTo>
                  <a:lnTo>
                    <a:pt x="846299" y="931538"/>
                  </a:lnTo>
                  <a:lnTo>
                    <a:pt x="826356" y="943012"/>
                  </a:lnTo>
                  <a:lnTo>
                    <a:pt x="807429" y="935615"/>
                  </a:lnTo>
                  <a:lnTo>
                    <a:pt x="806760" y="915044"/>
                  </a:lnTo>
                  <a:lnTo>
                    <a:pt x="818135" y="904180"/>
                  </a:lnTo>
                  <a:close/>
                  <a:moveTo>
                    <a:pt x="1151736" y="0"/>
                  </a:moveTo>
                  <a:lnTo>
                    <a:pt x="1186285" y="9344"/>
                  </a:lnTo>
                  <a:lnTo>
                    <a:pt x="1206555" y="20851"/>
                  </a:lnTo>
                  <a:lnTo>
                    <a:pt x="1220820" y="52095"/>
                  </a:lnTo>
                  <a:lnTo>
                    <a:pt x="1229471" y="65309"/>
                  </a:lnTo>
                  <a:lnTo>
                    <a:pt x="1237510" y="84045"/>
                  </a:lnTo>
                  <a:lnTo>
                    <a:pt x="1246050" y="113648"/>
                  </a:lnTo>
                  <a:lnTo>
                    <a:pt x="1286223" y="123236"/>
                  </a:lnTo>
                  <a:lnTo>
                    <a:pt x="1313564" y="144432"/>
                  </a:lnTo>
                  <a:lnTo>
                    <a:pt x="1322913" y="172186"/>
                  </a:lnTo>
                  <a:lnTo>
                    <a:pt x="1357984" y="172220"/>
                  </a:lnTo>
                  <a:lnTo>
                    <a:pt x="1377995" y="160603"/>
                  </a:lnTo>
                  <a:lnTo>
                    <a:pt x="1416144" y="151888"/>
                  </a:lnTo>
                  <a:lnTo>
                    <a:pt x="1404014" y="178399"/>
                  </a:lnTo>
                  <a:lnTo>
                    <a:pt x="1395048" y="189107"/>
                  </a:lnTo>
                  <a:lnTo>
                    <a:pt x="1387137" y="220911"/>
                  </a:lnTo>
                  <a:lnTo>
                    <a:pt x="1371614" y="248849"/>
                  </a:lnTo>
                  <a:lnTo>
                    <a:pt x="1343598" y="243784"/>
                  </a:lnTo>
                  <a:lnTo>
                    <a:pt x="1323788" y="253877"/>
                  </a:lnTo>
                  <a:lnTo>
                    <a:pt x="1329867" y="278199"/>
                  </a:lnTo>
                  <a:lnTo>
                    <a:pt x="1326546" y="311420"/>
                  </a:lnTo>
                  <a:lnTo>
                    <a:pt x="1314755" y="312174"/>
                  </a:lnTo>
                  <a:lnTo>
                    <a:pt x="1314897" y="326338"/>
                  </a:lnTo>
                  <a:lnTo>
                    <a:pt x="1299991" y="309871"/>
                  </a:lnTo>
                  <a:lnTo>
                    <a:pt x="1290813" y="325504"/>
                  </a:lnTo>
                  <a:lnTo>
                    <a:pt x="1255163" y="337463"/>
                  </a:lnTo>
                  <a:lnTo>
                    <a:pt x="1258769" y="352046"/>
                  </a:lnTo>
                  <a:lnTo>
                    <a:pt x="1238811" y="351043"/>
                  </a:lnTo>
                  <a:lnTo>
                    <a:pt x="1227853" y="342384"/>
                  </a:lnTo>
                  <a:lnTo>
                    <a:pt x="1211995" y="361942"/>
                  </a:lnTo>
                  <a:lnTo>
                    <a:pt x="1186555" y="376681"/>
                  </a:lnTo>
                  <a:lnTo>
                    <a:pt x="1167759" y="394176"/>
                  </a:lnTo>
                  <a:lnTo>
                    <a:pt x="1135488" y="402073"/>
                  </a:lnTo>
                  <a:lnTo>
                    <a:pt x="1118495" y="414728"/>
                  </a:lnTo>
                  <a:lnTo>
                    <a:pt x="1093638" y="422097"/>
                  </a:lnTo>
                  <a:lnTo>
                    <a:pt x="1105906" y="409578"/>
                  </a:lnTo>
                  <a:lnTo>
                    <a:pt x="1101076" y="399020"/>
                  </a:lnTo>
                  <a:lnTo>
                    <a:pt x="1119353" y="380710"/>
                  </a:lnTo>
                  <a:lnTo>
                    <a:pt x="1107161" y="366363"/>
                  </a:lnTo>
                  <a:lnTo>
                    <a:pt x="1087039" y="376037"/>
                  </a:lnTo>
                  <a:lnTo>
                    <a:pt x="1060978" y="395004"/>
                  </a:lnTo>
                  <a:lnTo>
                    <a:pt x="1046755" y="412515"/>
                  </a:lnTo>
                  <a:lnTo>
                    <a:pt x="1024118" y="413814"/>
                  </a:lnTo>
                  <a:lnTo>
                    <a:pt x="1012345" y="426404"/>
                  </a:lnTo>
                  <a:lnTo>
                    <a:pt x="1024509" y="444559"/>
                  </a:lnTo>
                  <a:lnTo>
                    <a:pt x="1043401" y="448951"/>
                  </a:lnTo>
                  <a:lnTo>
                    <a:pt x="1044175" y="460932"/>
                  </a:lnTo>
                  <a:lnTo>
                    <a:pt x="1062436" y="468704"/>
                  </a:lnTo>
                  <a:lnTo>
                    <a:pt x="1088304" y="449671"/>
                  </a:lnTo>
                  <a:lnTo>
                    <a:pt x="1108797" y="460061"/>
                  </a:lnTo>
                  <a:lnTo>
                    <a:pt x="1123724" y="460771"/>
                  </a:lnTo>
                  <a:lnTo>
                    <a:pt x="1127465" y="474700"/>
                  </a:lnTo>
                  <a:lnTo>
                    <a:pt x="1094783" y="482102"/>
                  </a:lnTo>
                  <a:lnTo>
                    <a:pt x="1084001" y="496365"/>
                  </a:lnTo>
                  <a:lnTo>
                    <a:pt x="1061553" y="509565"/>
                  </a:lnTo>
                  <a:lnTo>
                    <a:pt x="1049704" y="527899"/>
                  </a:lnTo>
                  <a:lnTo>
                    <a:pt x="1074549" y="542227"/>
                  </a:lnTo>
                  <a:lnTo>
                    <a:pt x="1083616" y="567730"/>
                  </a:lnTo>
                  <a:lnTo>
                    <a:pt x="1097665" y="591333"/>
                  </a:lnTo>
                  <a:lnTo>
                    <a:pt x="1113342" y="611004"/>
                  </a:lnTo>
                  <a:lnTo>
                    <a:pt x="1112967" y="629932"/>
                  </a:lnTo>
                  <a:lnTo>
                    <a:pt x="1098479" y="636867"/>
                  </a:lnTo>
                  <a:lnTo>
                    <a:pt x="1104002" y="650378"/>
                  </a:lnTo>
                  <a:lnTo>
                    <a:pt x="1117588" y="658220"/>
                  </a:lnTo>
                  <a:lnTo>
                    <a:pt x="1114041" y="678728"/>
                  </a:lnTo>
                  <a:lnTo>
                    <a:pt x="1108178" y="698586"/>
                  </a:lnTo>
                  <a:lnTo>
                    <a:pt x="1095280" y="700831"/>
                  </a:lnTo>
                  <a:lnTo>
                    <a:pt x="1078425" y="727795"/>
                  </a:lnTo>
                  <a:lnTo>
                    <a:pt x="1059729" y="760271"/>
                  </a:lnTo>
                  <a:lnTo>
                    <a:pt x="1038294" y="789607"/>
                  </a:lnTo>
                  <a:lnTo>
                    <a:pt x="1006549" y="812174"/>
                  </a:lnTo>
                  <a:lnTo>
                    <a:pt x="974443" y="832667"/>
                  </a:lnTo>
                  <a:lnTo>
                    <a:pt x="948432" y="835456"/>
                  </a:lnTo>
                  <a:lnTo>
                    <a:pt x="934322" y="846237"/>
                  </a:lnTo>
                  <a:lnTo>
                    <a:pt x="926341" y="838364"/>
                  </a:lnTo>
                  <a:lnTo>
                    <a:pt x="913283" y="850415"/>
                  </a:lnTo>
                  <a:lnTo>
                    <a:pt x="881025" y="862533"/>
                  </a:lnTo>
                  <a:lnTo>
                    <a:pt x="856601" y="866239"/>
                  </a:lnTo>
                  <a:lnTo>
                    <a:pt x="848719" y="891689"/>
                  </a:lnTo>
                  <a:lnTo>
                    <a:pt x="835928" y="893098"/>
                  </a:lnTo>
                  <a:lnTo>
                    <a:pt x="829875" y="875624"/>
                  </a:lnTo>
                  <a:lnTo>
                    <a:pt x="835342" y="866289"/>
                  </a:lnTo>
                  <a:lnTo>
                    <a:pt x="804372" y="858551"/>
                  </a:lnTo>
                  <a:lnTo>
                    <a:pt x="793463" y="862488"/>
                  </a:lnTo>
                  <a:lnTo>
                    <a:pt x="770224" y="856212"/>
                  </a:lnTo>
                  <a:lnTo>
                    <a:pt x="759233" y="846372"/>
                  </a:lnTo>
                  <a:lnTo>
                    <a:pt x="762883" y="832391"/>
                  </a:lnTo>
                  <a:lnTo>
                    <a:pt x="741782" y="827950"/>
                  </a:lnTo>
                  <a:lnTo>
                    <a:pt x="730656" y="818817"/>
                  </a:lnTo>
                  <a:lnTo>
                    <a:pt x="710981" y="831786"/>
                  </a:lnTo>
                  <a:lnTo>
                    <a:pt x="688537" y="834590"/>
                  </a:lnTo>
                  <a:lnTo>
                    <a:pt x="670128" y="834467"/>
                  </a:lnTo>
                  <a:lnTo>
                    <a:pt x="657742" y="840393"/>
                  </a:lnTo>
                  <a:lnTo>
                    <a:pt x="645776" y="843948"/>
                  </a:lnTo>
                  <a:lnTo>
                    <a:pt x="649264" y="871616"/>
                  </a:lnTo>
                  <a:lnTo>
                    <a:pt x="636958" y="870958"/>
                  </a:lnTo>
                  <a:lnTo>
                    <a:pt x="634881" y="865286"/>
                  </a:lnTo>
                  <a:lnTo>
                    <a:pt x="634189" y="855290"/>
                  </a:lnTo>
                  <a:lnTo>
                    <a:pt x="617258" y="862332"/>
                  </a:lnTo>
                  <a:lnTo>
                    <a:pt x="607262" y="857880"/>
                  </a:lnTo>
                  <a:lnTo>
                    <a:pt x="590121" y="848793"/>
                  </a:lnTo>
                  <a:lnTo>
                    <a:pt x="596840" y="828628"/>
                  </a:lnTo>
                  <a:lnTo>
                    <a:pt x="582223" y="823915"/>
                  </a:lnTo>
                  <a:lnTo>
                    <a:pt x="576719" y="801457"/>
                  </a:lnTo>
                  <a:lnTo>
                    <a:pt x="552354" y="805511"/>
                  </a:lnTo>
                  <a:lnTo>
                    <a:pt x="555121" y="776447"/>
                  </a:lnTo>
                  <a:lnTo>
                    <a:pt x="576985" y="755881"/>
                  </a:lnTo>
                  <a:lnTo>
                    <a:pt x="577915" y="735478"/>
                  </a:lnTo>
                  <a:lnTo>
                    <a:pt x="577237" y="716466"/>
                  </a:lnTo>
                  <a:lnTo>
                    <a:pt x="567161" y="710526"/>
                  </a:lnTo>
                  <a:lnTo>
                    <a:pt x="559446" y="695824"/>
                  </a:lnTo>
                  <a:lnTo>
                    <a:pt x="545945" y="697684"/>
                  </a:lnTo>
                  <a:lnTo>
                    <a:pt x="521056" y="693946"/>
                  </a:lnTo>
                  <a:lnTo>
                    <a:pt x="528853" y="683423"/>
                  </a:lnTo>
                  <a:lnTo>
                    <a:pt x="518028" y="667794"/>
                  </a:lnTo>
                  <a:lnTo>
                    <a:pt x="501574" y="678384"/>
                  </a:lnTo>
                  <a:lnTo>
                    <a:pt x="482211" y="672207"/>
                  </a:lnTo>
                  <a:lnTo>
                    <a:pt x="455605" y="688196"/>
                  </a:lnTo>
                  <a:lnTo>
                    <a:pt x="434595" y="706794"/>
                  </a:lnTo>
                  <a:lnTo>
                    <a:pt x="415980" y="709915"/>
                  </a:lnTo>
                  <a:lnTo>
                    <a:pt x="405874" y="703206"/>
                  </a:lnTo>
                  <a:lnTo>
                    <a:pt x="393678" y="702598"/>
                  </a:lnTo>
                  <a:lnTo>
                    <a:pt x="377182" y="696812"/>
                  </a:lnTo>
                  <a:lnTo>
                    <a:pt x="364717" y="703152"/>
                  </a:lnTo>
                  <a:lnTo>
                    <a:pt x="349446" y="721679"/>
                  </a:lnTo>
                  <a:lnTo>
                    <a:pt x="347509" y="702051"/>
                  </a:lnTo>
                  <a:lnTo>
                    <a:pt x="333431" y="707301"/>
                  </a:lnTo>
                  <a:lnTo>
                    <a:pt x="306519" y="704862"/>
                  </a:lnTo>
                  <a:lnTo>
                    <a:pt x="280407" y="699134"/>
                  </a:lnTo>
                  <a:lnTo>
                    <a:pt x="261672" y="688142"/>
                  </a:lnTo>
                  <a:lnTo>
                    <a:pt x="243735" y="683199"/>
                  </a:lnTo>
                  <a:lnTo>
                    <a:pt x="235989" y="671131"/>
                  </a:lnTo>
                  <a:lnTo>
                    <a:pt x="223019" y="667518"/>
                  </a:lnTo>
                  <a:lnTo>
                    <a:pt x="199715" y="651077"/>
                  </a:lnTo>
                  <a:lnTo>
                    <a:pt x="181209" y="643296"/>
                  </a:lnTo>
                  <a:lnTo>
                    <a:pt x="171640" y="649352"/>
                  </a:lnTo>
                  <a:lnTo>
                    <a:pt x="139558" y="631625"/>
                  </a:lnTo>
                  <a:lnTo>
                    <a:pt x="116880" y="615503"/>
                  </a:lnTo>
                  <a:lnTo>
                    <a:pt x="110406" y="587278"/>
                  </a:lnTo>
                  <a:lnTo>
                    <a:pt x="126973" y="590730"/>
                  </a:lnTo>
                  <a:lnTo>
                    <a:pt x="127729" y="577595"/>
                  </a:lnTo>
                  <a:lnTo>
                    <a:pt x="118546" y="564383"/>
                  </a:lnTo>
                  <a:lnTo>
                    <a:pt x="120882" y="543225"/>
                  </a:lnTo>
                  <a:lnTo>
                    <a:pt x="96072" y="512604"/>
                  </a:lnTo>
                  <a:lnTo>
                    <a:pt x="58110" y="501977"/>
                  </a:lnTo>
                  <a:lnTo>
                    <a:pt x="51279" y="481692"/>
                  </a:lnTo>
                  <a:lnTo>
                    <a:pt x="34224" y="469325"/>
                  </a:lnTo>
                  <a:lnTo>
                    <a:pt x="30114" y="461690"/>
                  </a:lnTo>
                  <a:lnTo>
                    <a:pt x="26652" y="446472"/>
                  </a:lnTo>
                  <a:lnTo>
                    <a:pt x="27456" y="436050"/>
                  </a:lnTo>
                  <a:lnTo>
                    <a:pt x="13438" y="429933"/>
                  </a:lnTo>
                  <a:lnTo>
                    <a:pt x="5851" y="432640"/>
                  </a:lnTo>
                  <a:lnTo>
                    <a:pt x="0" y="407673"/>
                  </a:lnTo>
                  <a:lnTo>
                    <a:pt x="6571" y="401470"/>
                  </a:lnTo>
                  <a:lnTo>
                    <a:pt x="3391" y="395115"/>
                  </a:lnTo>
                  <a:lnTo>
                    <a:pt x="25426" y="382241"/>
                  </a:lnTo>
                  <a:lnTo>
                    <a:pt x="41375" y="376894"/>
                  </a:lnTo>
                  <a:lnTo>
                    <a:pt x="65809" y="380560"/>
                  </a:lnTo>
                  <a:lnTo>
                    <a:pt x="74537" y="363065"/>
                  </a:lnTo>
                  <a:lnTo>
                    <a:pt x="104145" y="359798"/>
                  </a:lnTo>
                  <a:lnTo>
                    <a:pt x="112373" y="348860"/>
                  </a:lnTo>
                  <a:lnTo>
                    <a:pt x="148746" y="333868"/>
                  </a:lnTo>
                  <a:lnTo>
                    <a:pt x="151991" y="327590"/>
                  </a:lnTo>
                  <a:lnTo>
                    <a:pt x="150148" y="311697"/>
                  </a:lnTo>
                  <a:lnTo>
                    <a:pt x="165984" y="304412"/>
                  </a:lnTo>
                  <a:lnTo>
                    <a:pt x="145207" y="255315"/>
                  </a:lnTo>
                  <a:lnTo>
                    <a:pt x="190933" y="243902"/>
                  </a:lnTo>
                  <a:lnTo>
                    <a:pt x="202748" y="237523"/>
                  </a:lnTo>
                  <a:lnTo>
                    <a:pt x="219404" y="185672"/>
                  </a:lnTo>
                  <a:lnTo>
                    <a:pt x="265195" y="195276"/>
                  </a:lnTo>
                  <a:lnTo>
                    <a:pt x="278033" y="182075"/>
                  </a:lnTo>
                  <a:lnTo>
                    <a:pt x="279136" y="152554"/>
                  </a:lnTo>
                  <a:lnTo>
                    <a:pt x="298307" y="149787"/>
                  </a:lnTo>
                  <a:lnTo>
                    <a:pt x="315877" y="129981"/>
                  </a:lnTo>
                  <a:lnTo>
                    <a:pt x="324910" y="127525"/>
                  </a:lnTo>
                  <a:lnTo>
                    <a:pt x="330970" y="148296"/>
                  </a:lnTo>
                  <a:lnTo>
                    <a:pt x="350371" y="163976"/>
                  </a:lnTo>
                  <a:lnTo>
                    <a:pt x="383298" y="175022"/>
                  </a:lnTo>
                  <a:lnTo>
                    <a:pt x="399225" y="198561"/>
                  </a:lnTo>
                  <a:lnTo>
                    <a:pt x="390337" y="232352"/>
                  </a:lnTo>
                  <a:lnTo>
                    <a:pt x="398642" y="244788"/>
                  </a:lnTo>
                  <a:lnTo>
                    <a:pt x="426072" y="249677"/>
                  </a:lnTo>
                  <a:lnTo>
                    <a:pt x="457161" y="253662"/>
                  </a:lnTo>
                  <a:lnTo>
                    <a:pt x="485049" y="271381"/>
                  </a:lnTo>
                  <a:lnTo>
                    <a:pt x="499313" y="274526"/>
                  </a:lnTo>
                  <a:lnTo>
                    <a:pt x="509829" y="300511"/>
                  </a:lnTo>
                  <a:lnTo>
                    <a:pt x="523377" y="317127"/>
                  </a:lnTo>
                  <a:lnTo>
                    <a:pt x="548823" y="316478"/>
                  </a:lnTo>
                  <a:lnTo>
                    <a:pt x="596467" y="322729"/>
                  </a:lnTo>
                  <a:lnTo>
                    <a:pt x="627168" y="318852"/>
                  </a:lnTo>
                  <a:lnTo>
                    <a:pt x="649955" y="323002"/>
                  </a:lnTo>
                  <a:lnTo>
                    <a:pt x="684099" y="339868"/>
                  </a:lnTo>
                  <a:lnTo>
                    <a:pt x="712030" y="339844"/>
                  </a:lnTo>
                  <a:lnTo>
                    <a:pt x="722249" y="348441"/>
                  </a:lnTo>
                  <a:lnTo>
                    <a:pt x="749124" y="333580"/>
                  </a:lnTo>
                  <a:lnTo>
                    <a:pt x="786413" y="323931"/>
                  </a:lnTo>
                  <a:lnTo>
                    <a:pt x="821010" y="322875"/>
                  </a:lnTo>
                  <a:lnTo>
                    <a:pt x="847982" y="313062"/>
                  </a:lnTo>
                  <a:lnTo>
                    <a:pt x="864546" y="298058"/>
                  </a:lnTo>
                  <a:lnTo>
                    <a:pt x="880702" y="288599"/>
                  </a:lnTo>
                  <a:lnTo>
                    <a:pt x="876965" y="279283"/>
                  </a:lnTo>
                  <a:lnTo>
                    <a:pt x="869594" y="268400"/>
                  </a:lnTo>
                  <a:lnTo>
                    <a:pt x="881711" y="250048"/>
                  </a:lnTo>
                  <a:lnTo>
                    <a:pt x="894701" y="252630"/>
                  </a:lnTo>
                  <a:lnTo>
                    <a:pt x="918426" y="258410"/>
                  </a:lnTo>
                  <a:lnTo>
                    <a:pt x="941427" y="243250"/>
                  </a:lnTo>
                  <a:lnTo>
                    <a:pt x="976622" y="232136"/>
                  </a:lnTo>
                  <a:lnTo>
                    <a:pt x="993536" y="213070"/>
                  </a:lnTo>
                  <a:lnTo>
                    <a:pt x="1009782" y="204822"/>
                  </a:lnTo>
                  <a:lnTo>
                    <a:pt x="1043313" y="200967"/>
                  </a:lnTo>
                  <a:lnTo>
                    <a:pt x="1061524" y="204243"/>
                  </a:lnTo>
                  <a:lnTo>
                    <a:pt x="1064053" y="193904"/>
                  </a:lnTo>
                  <a:lnTo>
                    <a:pt x="1043134" y="173451"/>
                  </a:lnTo>
                  <a:lnTo>
                    <a:pt x="1024612" y="164045"/>
                  </a:lnTo>
                  <a:lnTo>
                    <a:pt x="1006870" y="174900"/>
                  </a:lnTo>
                  <a:lnTo>
                    <a:pt x="984098" y="170326"/>
                  </a:lnTo>
                  <a:lnTo>
                    <a:pt x="971030" y="174054"/>
                  </a:lnTo>
                  <a:lnTo>
                    <a:pt x="965085" y="162021"/>
                  </a:lnTo>
                  <a:lnTo>
                    <a:pt x="981393" y="132380"/>
                  </a:lnTo>
                  <a:lnTo>
                    <a:pt x="992634" y="109791"/>
                  </a:lnTo>
                  <a:lnTo>
                    <a:pt x="1020344" y="121128"/>
                  </a:lnTo>
                  <a:lnTo>
                    <a:pt x="1052873" y="102125"/>
                  </a:lnTo>
                  <a:lnTo>
                    <a:pt x="1052663" y="88810"/>
                  </a:lnTo>
                  <a:lnTo>
                    <a:pt x="1073499" y="56423"/>
                  </a:lnTo>
                  <a:lnTo>
                    <a:pt x="1086336" y="46552"/>
                  </a:lnTo>
                  <a:lnTo>
                    <a:pt x="1086050" y="29459"/>
                  </a:lnTo>
                  <a:lnTo>
                    <a:pt x="1073385" y="22064"/>
                  </a:lnTo>
                  <a:lnTo>
                    <a:pt x="1092451" y="6512"/>
                  </a:lnTo>
                  <a:lnTo>
                    <a:pt x="1121134" y="851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54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499704" y="3331302"/>
              <a:ext cx="102029" cy="59718"/>
            </a:xfrm>
            <a:custGeom>
              <a:avLst/>
              <a:gdLst/>
              <a:ahLst/>
              <a:cxnLst/>
              <a:rect l="0" t="0" r="0" b="0"/>
              <a:pathLst>
                <a:path w="102029" h="59718">
                  <a:moveTo>
                    <a:pt x="82443" y="8975"/>
                  </a:moveTo>
                  <a:lnTo>
                    <a:pt x="83336" y="14169"/>
                  </a:lnTo>
                  <a:lnTo>
                    <a:pt x="79806" y="21319"/>
                  </a:lnTo>
                  <a:lnTo>
                    <a:pt x="90250" y="26624"/>
                  </a:lnTo>
                  <a:lnTo>
                    <a:pt x="102028" y="27415"/>
                  </a:lnTo>
                  <a:lnTo>
                    <a:pt x="100197" y="39319"/>
                  </a:lnTo>
                  <a:lnTo>
                    <a:pt x="90028" y="44202"/>
                  </a:lnTo>
                  <a:lnTo>
                    <a:pt x="72948" y="40576"/>
                  </a:lnTo>
                  <a:lnTo>
                    <a:pt x="67949" y="52230"/>
                  </a:lnTo>
                  <a:lnTo>
                    <a:pt x="56953" y="53146"/>
                  </a:lnTo>
                  <a:lnTo>
                    <a:pt x="52953" y="48573"/>
                  </a:lnTo>
                  <a:lnTo>
                    <a:pt x="40012" y="58350"/>
                  </a:lnTo>
                  <a:lnTo>
                    <a:pt x="28882" y="59717"/>
                  </a:lnTo>
                  <a:lnTo>
                    <a:pt x="18951" y="53550"/>
                  </a:lnTo>
                  <a:lnTo>
                    <a:pt x="11022" y="40881"/>
                  </a:lnTo>
                  <a:lnTo>
                    <a:pt x="0" y="45414"/>
                  </a:lnTo>
                  <a:lnTo>
                    <a:pt x="341" y="32293"/>
                  </a:lnTo>
                  <a:lnTo>
                    <a:pt x="17223" y="15920"/>
                  </a:lnTo>
                  <a:lnTo>
                    <a:pt x="16480" y="8484"/>
                  </a:lnTo>
                  <a:lnTo>
                    <a:pt x="26998" y="11180"/>
                  </a:lnTo>
                  <a:lnTo>
                    <a:pt x="33335" y="6175"/>
                  </a:lnTo>
                  <a:lnTo>
                    <a:pt x="52968" y="6380"/>
                  </a:lnTo>
                  <a:lnTo>
                    <a:pt x="57707" y="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55"/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162109" y="4284168"/>
              <a:ext cx="139436" cy="143603"/>
            </a:xfrm>
            <a:custGeom>
              <a:avLst/>
              <a:gdLst/>
              <a:ahLst/>
              <a:cxnLst/>
              <a:rect l="0" t="0" r="0" b="0"/>
              <a:pathLst>
                <a:path w="139436" h="143603">
                  <a:moveTo>
                    <a:pt x="132651" y="128423"/>
                  </a:moveTo>
                  <a:lnTo>
                    <a:pt x="122149" y="128659"/>
                  </a:lnTo>
                  <a:lnTo>
                    <a:pt x="106043" y="124134"/>
                  </a:lnTo>
                  <a:lnTo>
                    <a:pt x="91245" y="124402"/>
                  </a:lnTo>
                  <a:lnTo>
                    <a:pt x="63902" y="128441"/>
                  </a:lnTo>
                  <a:lnTo>
                    <a:pt x="47876" y="135118"/>
                  </a:lnTo>
                  <a:lnTo>
                    <a:pt x="25020" y="143602"/>
                  </a:lnTo>
                  <a:lnTo>
                    <a:pt x="20560" y="142994"/>
                  </a:lnTo>
                  <a:lnTo>
                    <a:pt x="22333" y="123941"/>
                  </a:lnTo>
                  <a:lnTo>
                    <a:pt x="24540" y="121044"/>
                  </a:lnTo>
                  <a:lnTo>
                    <a:pt x="23838" y="111922"/>
                  </a:lnTo>
                  <a:lnTo>
                    <a:pt x="14062" y="102221"/>
                  </a:lnTo>
                  <a:lnTo>
                    <a:pt x="6729" y="100672"/>
                  </a:lnTo>
                  <a:lnTo>
                    <a:pt x="0" y="94310"/>
                  </a:lnTo>
                  <a:lnTo>
                    <a:pt x="5019" y="84011"/>
                  </a:lnTo>
                  <a:lnTo>
                    <a:pt x="2711" y="72797"/>
                  </a:lnTo>
                  <a:lnTo>
                    <a:pt x="3776" y="66047"/>
                  </a:lnTo>
                  <a:lnTo>
                    <a:pt x="7436" y="66020"/>
                  </a:lnTo>
                  <a:lnTo>
                    <a:pt x="8796" y="55891"/>
                  </a:lnTo>
                  <a:lnTo>
                    <a:pt x="7013" y="51404"/>
                  </a:lnTo>
                  <a:lnTo>
                    <a:pt x="9219" y="48173"/>
                  </a:lnTo>
                  <a:lnTo>
                    <a:pt x="17792" y="45378"/>
                  </a:lnTo>
                  <a:lnTo>
                    <a:pt x="12090" y="26753"/>
                  </a:lnTo>
                  <a:lnTo>
                    <a:pt x="6769" y="17127"/>
                  </a:lnTo>
                  <a:lnTo>
                    <a:pt x="8622" y="9215"/>
                  </a:lnTo>
                  <a:lnTo>
                    <a:pt x="13225" y="7407"/>
                  </a:lnTo>
                  <a:lnTo>
                    <a:pt x="16234" y="5288"/>
                  </a:lnTo>
                  <a:lnTo>
                    <a:pt x="22624" y="8790"/>
                  </a:lnTo>
                  <a:lnTo>
                    <a:pt x="40450" y="8982"/>
                  </a:lnTo>
                  <a:lnTo>
                    <a:pt x="44698" y="2176"/>
                  </a:lnTo>
                  <a:lnTo>
                    <a:pt x="48679" y="2631"/>
                  </a:lnTo>
                  <a:lnTo>
                    <a:pt x="55344" y="0"/>
                  </a:lnTo>
                  <a:lnTo>
                    <a:pt x="58917" y="9976"/>
                  </a:lnTo>
                  <a:lnTo>
                    <a:pt x="64307" y="7033"/>
                  </a:lnTo>
                  <a:lnTo>
                    <a:pt x="73831" y="3577"/>
                  </a:lnTo>
                  <a:lnTo>
                    <a:pt x="84211" y="8662"/>
                  </a:lnTo>
                  <a:lnTo>
                    <a:pt x="88245" y="16371"/>
                  </a:lnTo>
                  <a:lnTo>
                    <a:pt x="98624" y="21290"/>
                  </a:lnTo>
                  <a:lnTo>
                    <a:pt x="106698" y="15430"/>
                  </a:lnTo>
                  <a:lnTo>
                    <a:pt x="117513" y="14545"/>
                  </a:lnTo>
                  <a:lnTo>
                    <a:pt x="133311" y="20553"/>
                  </a:lnTo>
                  <a:lnTo>
                    <a:pt x="139435" y="53654"/>
                  </a:lnTo>
                  <a:lnTo>
                    <a:pt x="129708" y="73157"/>
                  </a:lnTo>
                  <a:lnTo>
                    <a:pt x="123689" y="99342"/>
                  </a:lnTo>
                  <a:lnTo>
                    <a:pt x="133699" y="11929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56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556631" y="4229533"/>
              <a:ext cx="173676" cy="258555"/>
            </a:xfrm>
            <a:custGeom>
              <a:avLst/>
              <a:gdLst/>
              <a:ahLst/>
              <a:cxnLst/>
              <a:rect l="0" t="0" r="0" b="0"/>
              <a:pathLst>
                <a:path w="173676" h="258555">
                  <a:moveTo>
                    <a:pt x="105881" y="246098"/>
                  </a:moveTo>
                  <a:lnTo>
                    <a:pt x="103007" y="244839"/>
                  </a:lnTo>
                  <a:lnTo>
                    <a:pt x="89343" y="247814"/>
                  </a:lnTo>
                  <a:lnTo>
                    <a:pt x="75315" y="244720"/>
                  </a:lnTo>
                  <a:lnTo>
                    <a:pt x="64346" y="246238"/>
                  </a:lnTo>
                  <a:lnTo>
                    <a:pt x="26784" y="245711"/>
                  </a:lnTo>
                  <a:lnTo>
                    <a:pt x="30155" y="227473"/>
                  </a:lnTo>
                  <a:lnTo>
                    <a:pt x="21133" y="212195"/>
                  </a:lnTo>
                  <a:lnTo>
                    <a:pt x="10602" y="208275"/>
                  </a:lnTo>
                  <a:lnTo>
                    <a:pt x="5912" y="197915"/>
                  </a:lnTo>
                  <a:lnTo>
                    <a:pt x="0" y="194599"/>
                  </a:lnTo>
                  <a:lnTo>
                    <a:pt x="265" y="188206"/>
                  </a:lnTo>
                  <a:lnTo>
                    <a:pt x="6203" y="171829"/>
                  </a:lnTo>
                  <a:lnTo>
                    <a:pt x="17182" y="149480"/>
                  </a:lnTo>
                  <a:lnTo>
                    <a:pt x="23865" y="149272"/>
                  </a:lnTo>
                  <a:lnTo>
                    <a:pt x="37612" y="135702"/>
                  </a:lnTo>
                  <a:lnTo>
                    <a:pt x="46363" y="135317"/>
                  </a:lnTo>
                  <a:lnTo>
                    <a:pt x="59322" y="144846"/>
                  </a:lnTo>
                  <a:lnTo>
                    <a:pt x="75179" y="137033"/>
                  </a:lnTo>
                  <a:lnTo>
                    <a:pt x="77338" y="127390"/>
                  </a:lnTo>
                  <a:lnTo>
                    <a:pt x="82523" y="118040"/>
                  </a:lnTo>
                  <a:lnTo>
                    <a:pt x="86100" y="106286"/>
                  </a:lnTo>
                  <a:lnTo>
                    <a:pt x="98444" y="96710"/>
                  </a:lnTo>
                  <a:lnTo>
                    <a:pt x="103102" y="80421"/>
                  </a:lnTo>
                  <a:lnTo>
                    <a:pt x="107999" y="75231"/>
                  </a:lnTo>
                  <a:lnTo>
                    <a:pt x="111255" y="63119"/>
                  </a:lnTo>
                  <a:lnTo>
                    <a:pt x="117355" y="48228"/>
                  </a:lnTo>
                  <a:lnTo>
                    <a:pt x="136801" y="30147"/>
                  </a:lnTo>
                  <a:lnTo>
                    <a:pt x="138020" y="22370"/>
                  </a:lnTo>
                  <a:lnTo>
                    <a:pt x="140536" y="18142"/>
                  </a:lnTo>
                  <a:lnTo>
                    <a:pt x="131399" y="8811"/>
                  </a:lnTo>
                  <a:lnTo>
                    <a:pt x="132142" y="1346"/>
                  </a:lnTo>
                  <a:lnTo>
                    <a:pt x="138657" y="0"/>
                  </a:lnTo>
                  <a:lnTo>
                    <a:pt x="147835" y="15011"/>
                  </a:lnTo>
                  <a:lnTo>
                    <a:pt x="149376" y="30539"/>
                  </a:lnTo>
                  <a:lnTo>
                    <a:pt x="148531" y="46062"/>
                  </a:lnTo>
                  <a:lnTo>
                    <a:pt x="161095" y="67269"/>
                  </a:lnTo>
                  <a:lnTo>
                    <a:pt x="148203" y="67041"/>
                  </a:lnTo>
                  <a:lnTo>
                    <a:pt x="141690" y="68700"/>
                  </a:lnTo>
                  <a:lnTo>
                    <a:pt x="131171" y="66359"/>
                  </a:lnTo>
                  <a:lnTo>
                    <a:pt x="126156" y="77354"/>
                  </a:lnTo>
                  <a:lnTo>
                    <a:pt x="139781" y="90939"/>
                  </a:lnTo>
                  <a:lnTo>
                    <a:pt x="149834" y="94888"/>
                  </a:lnTo>
                  <a:lnTo>
                    <a:pt x="153085" y="104512"/>
                  </a:lnTo>
                  <a:lnTo>
                    <a:pt x="160362" y="120524"/>
                  </a:lnTo>
                  <a:lnTo>
                    <a:pt x="156746" y="126812"/>
                  </a:lnTo>
                  <a:lnTo>
                    <a:pt x="145138" y="150314"/>
                  </a:lnTo>
                  <a:lnTo>
                    <a:pt x="139598" y="154521"/>
                  </a:lnTo>
                  <a:lnTo>
                    <a:pt x="137817" y="172475"/>
                  </a:lnTo>
                  <a:lnTo>
                    <a:pt x="140114" y="182223"/>
                  </a:lnTo>
                  <a:lnTo>
                    <a:pt x="138255" y="189117"/>
                  </a:lnTo>
                  <a:lnTo>
                    <a:pt x="149164" y="201195"/>
                  </a:lnTo>
                  <a:lnTo>
                    <a:pt x="151132" y="209495"/>
                  </a:lnTo>
                  <a:lnTo>
                    <a:pt x="159653" y="221422"/>
                  </a:lnTo>
                  <a:lnTo>
                    <a:pt x="170210" y="228856"/>
                  </a:lnTo>
                  <a:lnTo>
                    <a:pt x="171240" y="239394"/>
                  </a:lnTo>
                  <a:lnTo>
                    <a:pt x="173675" y="246086"/>
                  </a:lnTo>
                  <a:lnTo>
                    <a:pt x="172014" y="258554"/>
                  </a:lnTo>
                  <a:lnTo>
                    <a:pt x="153674" y="253097"/>
                  </a:lnTo>
                  <a:lnTo>
                    <a:pt x="135011" y="24700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57"/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641887" y="4406537"/>
              <a:ext cx="438383" cy="429210"/>
            </a:xfrm>
            <a:custGeom>
              <a:avLst/>
              <a:gdLst/>
              <a:ahLst/>
              <a:cxnLst/>
              <a:rect l="0" t="0" r="0" b="0"/>
              <a:pathLst>
                <a:path w="438383" h="429210">
                  <a:moveTo>
                    <a:pt x="430527" y="40400"/>
                  </a:moveTo>
                  <a:lnTo>
                    <a:pt x="429131" y="67413"/>
                  </a:lnTo>
                  <a:lnTo>
                    <a:pt x="438382" y="70540"/>
                  </a:lnTo>
                  <a:lnTo>
                    <a:pt x="430961" y="78740"/>
                  </a:lnTo>
                  <a:lnTo>
                    <a:pt x="422094" y="84872"/>
                  </a:lnTo>
                  <a:lnTo>
                    <a:pt x="413268" y="96912"/>
                  </a:lnTo>
                  <a:lnTo>
                    <a:pt x="408412" y="107644"/>
                  </a:lnTo>
                  <a:lnTo>
                    <a:pt x="407113" y="126173"/>
                  </a:lnTo>
                  <a:lnTo>
                    <a:pt x="401766" y="134993"/>
                  </a:lnTo>
                  <a:lnTo>
                    <a:pt x="401573" y="152396"/>
                  </a:lnTo>
                  <a:lnTo>
                    <a:pt x="394935" y="158832"/>
                  </a:lnTo>
                  <a:lnTo>
                    <a:pt x="394079" y="172572"/>
                  </a:lnTo>
                  <a:lnTo>
                    <a:pt x="390909" y="174353"/>
                  </a:lnTo>
                  <a:lnTo>
                    <a:pt x="388773" y="186988"/>
                  </a:lnTo>
                  <a:lnTo>
                    <a:pt x="394577" y="197492"/>
                  </a:lnTo>
                  <a:lnTo>
                    <a:pt x="396045" y="225374"/>
                  </a:lnTo>
                  <a:lnTo>
                    <a:pt x="400200" y="246661"/>
                  </a:lnTo>
                  <a:lnTo>
                    <a:pt x="397891" y="258702"/>
                  </a:lnTo>
                  <a:lnTo>
                    <a:pt x="402509" y="272141"/>
                  </a:lnTo>
                  <a:lnTo>
                    <a:pt x="415896" y="285125"/>
                  </a:lnTo>
                  <a:lnTo>
                    <a:pt x="428361" y="314380"/>
                  </a:lnTo>
                  <a:lnTo>
                    <a:pt x="419268" y="312015"/>
                  </a:lnTo>
                  <a:lnTo>
                    <a:pt x="388264" y="315938"/>
                  </a:lnTo>
                  <a:lnTo>
                    <a:pt x="382077" y="318716"/>
                  </a:lnTo>
                  <a:lnTo>
                    <a:pt x="375499" y="333564"/>
                  </a:lnTo>
                  <a:lnTo>
                    <a:pt x="380665" y="343832"/>
                  </a:lnTo>
                  <a:lnTo>
                    <a:pt x="376565" y="371440"/>
                  </a:lnTo>
                  <a:lnTo>
                    <a:pt x="373707" y="394901"/>
                  </a:lnTo>
                  <a:lnTo>
                    <a:pt x="379943" y="399065"/>
                  </a:lnTo>
                  <a:lnTo>
                    <a:pt x="396081" y="408180"/>
                  </a:lnTo>
                  <a:lnTo>
                    <a:pt x="402416" y="403920"/>
                  </a:lnTo>
                  <a:lnTo>
                    <a:pt x="404346" y="429209"/>
                  </a:lnTo>
                  <a:lnTo>
                    <a:pt x="386680" y="429014"/>
                  </a:lnTo>
                  <a:lnTo>
                    <a:pt x="377200" y="416099"/>
                  </a:lnTo>
                  <a:lnTo>
                    <a:pt x="368695" y="406112"/>
                  </a:lnTo>
                  <a:lnTo>
                    <a:pt x="351006" y="402839"/>
                  </a:lnTo>
                  <a:lnTo>
                    <a:pt x="345827" y="390576"/>
                  </a:lnTo>
                  <a:lnTo>
                    <a:pt x="331716" y="397962"/>
                  </a:lnTo>
                  <a:lnTo>
                    <a:pt x="313232" y="394698"/>
                  </a:lnTo>
                  <a:lnTo>
                    <a:pt x="305518" y="384080"/>
                  </a:lnTo>
                  <a:lnTo>
                    <a:pt x="290862" y="381924"/>
                  </a:lnTo>
                  <a:lnTo>
                    <a:pt x="280044" y="382488"/>
                  </a:lnTo>
                  <a:lnTo>
                    <a:pt x="278720" y="375226"/>
                  </a:lnTo>
                  <a:lnTo>
                    <a:pt x="270757" y="374638"/>
                  </a:lnTo>
                  <a:lnTo>
                    <a:pt x="260245" y="373261"/>
                  </a:lnTo>
                  <a:lnTo>
                    <a:pt x="245946" y="376759"/>
                  </a:lnTo>
                  <a:lnTo>
                    <a:pt x="235916" y="376185"/>
                  </a:lnTo>
                  <a:lnTo>
                    <a:pt x="230202" y="378328"/>
                  </a:lnTo>
                  <a:lnTo>
                    <a:pt x="231437" y="350562"/>
                  </a:lnTo>
                  <a:lnTo>
                    <a:pt x="223737" y="341917"/>
                  </a:lnTo>
                  <a:lnTo>
                    <a:pt x="222043" y="327603"/>
                  </a:lnTo>
                  <a:lnTo>
                    <a:pt x="225444" y="313587"/>
                  </a:lnTo>
                  <a:lnTo>
                    <a:pt x="220766" y="304624"/>
                  </a:lnTo>
                  <a:lnTo>
                    <a:pt x="220343" y="290018"/>
                  </a:lnTo>
                  <a:lnTo>
                    <a:pt x="192335" y="290221"/>
                  </a:lnTo>
                  <a:lnTo>
                    <a:pt x="194345" y="281863"/>
                  </a:lnTo>
                  <a:lnTo>
                    <a:pt x="182568" y="281950"/>
                  </a:lnTo>
                  <a:lnTo>
                    <a:pt x="181324" y="285969"/>
                  </a:lnTo>
                  <a:lnTo>
                    <a:pt x="167007" y="286875"/>
                  </a:lnTo>
                  <a:lnTo>
                    <a:pt x="161216" y="300400"/>
                  </a:lnTo>
                  <a:lnTo>
                    <a:pt x="157757" y="306207"/>
                  </a:lnTo>
                  <a:lnTo>
                    <a:pt x="145002" y="302927"/>
                  </a:lnTo>
                  <a:lnTo>
                    <a:pt x="137386" y="306194"/>
                  </a:lnTo>
                  <a:lnTo>
                    <a:pt x="122122" y="308073"/>
                  </a:lnTo>
                  <a:lnTo>
                    <a:pt x="113282" y="295931"/>
                  </a:lnTo>
                  <a:lnTo>
                    <a:pt x="107978" y="288427"/>
                  </a:lnTo>
                  <a:lnTo>
                    <a:pt x="101353" y="274520"/>
                  </a:lnTo>
                  <a:lnTo>
                    <a:pt x="95659" y="257254"/>
                  </a:lnTo>
                  <a:lnTo>
                    <a:pt x="27544" y="256947"/>
                  </a:lnTo>
                  <a:lnTo>
                    <a:pt x="19448" y="259731"/>
                  </a:lnTo>
                  <a:lnTo>
                    <a:pt x="12761" y="259297"/>
                  </a:lnTo>
                  <a:lnTo>
                    <a:pt x="3234" y="262411"/>
                  </a:lnTo>
                  <a:lnTo>
                    <a:pt x="0" y="255227"/>
                  </a:lnTo>
                  <a:lnTo>
                    <a:pt x="5872" y="252781"/>
                  </a:lnTo>
                  <a:lnTo>
                    <a:pt x="6594" y="242689"/>
                  </a:lnTo>
                  <a:lnTo>
                    <a:pt x="10371" y="236739"/>
                  </a:lnTo>
                  <a:lnTo>
                    <a:pt x="18771" y="231876"/>
                  </a:lnTo>
                  <a:lnTo>
                    <a:pt x="24835" y="234233"/>
                  </a:lnTo>
                  <a:lnTo>
                    <a:pt x="32729" y="225377"/>
                  </a:lnTo>
                  <a:lnTo>
                    <a:pt x="45303" y="225605"/>
                  </a:lnTo>
                  <a:lnTo>
                    <a:pt x="46782" y="232154"/>
                  </a:lnTo>
                  <a:lnTo>
                    <a:pt x="55405" y="236252"/>
                  </a:lnTo>
                  <a:lnTo>
                    <a:pt x="68987" y="221755"/>
                  </a:lnTo>
                  <a:lnTo>
                    <a:pt x="82433" y="210464"/>
                  </a:lnTo>
                  <a:lnTo>
                    <a:pt x="88267" y="203067"/>
                  </a:lnTo>
                  <a:lnTo>
                    <a:pt x="87494" y="184058"/>
                  </a:lnTo>
                  <a:lnTo>
                    <a:pt x="97519" y="161623"/>
                  </a:lnTo>
                  <a:lnTo>
                    <a:pt x="108096" y="149730"/>
                  </a:lnTo>
                  <a:lnTo>
                    <a:pt x="123294" y="138603"/>
                  </a:lnTo>
                  <a:lnTo>
                    <a:pt x="125947" y="131240"/>
                  </a:lnTo>
                  <a:lnTo>
                    <a:pt x="126522" y="122774"/>
                  </a:lnTo>
                  <a:lnTo>
                    <a:pt x="130284" y="114765"/>
                  </a:lnTo>
                  <a:lnTo>
                    <a:pt x="129075" y="101682"/>
                  </a:lnTo>
                  <a:lnTo>
                    <a:pt x="131953" y="81224"/>
                  </a:lnTo>
                  <a:lnTo>
                    <a:pt x="136464" y="66816"/>
                  </a:lnTo>
                  <a:lnTo>
                    <a:pt x="143378" y="54465"/>
                  </a:lnTo>
                  <a:lnTo>
                    <a:pt x="144746" y="40511"/>
                  </a:lnTo>
                  <a:lnTo>
                    <a:pt x="146821" y="24389"/>
                  </a:lnTo>
                  <a:lnTo>
                    <a:pt x="155808" y="12647"/>
                  </a:lnTo>
                  <a:lnTo>
                    <a:pt x="168168" y="5197"/>
                  </a:lnTo>
                  <a:lnTo>
                    <a:pt x="187163" y="13060"/>
                  </a:lnTo>
                  <a:lnTo>
                    <a:pt x="201864" y="21592"/>
                  </a:lnTo>
                  <a:lnTo>
                    <a:pt x="218750" y="23868"/>
                  </a:lnTo>
                  <a:lnTo>
                    <a:pt x="235970" y="28381"/>
                  </a:lnTo>
                  <a:lnTo>
                    <a:pt x="242871" y="14416"/>
                  </a:lnTo>
                  <a:lnTo>
                    <a:pt x="246042" y="12633"/>
                  </a:lnTo>
                  <a:lnTo>
                    <a:pt x="256562" y="14956"/>
                  </a:lnTo>
                  <a:lnTo>
                    <a:pt x="282260" y="3409"/>
                  </a:lnTo>
                  <a:lnTo>
                    <a:pt x="291366" y="8304"/>
                  </a:lnTo>
                  <a:lnTo>
                    <a:pt x="298840" y="7610"/>
                  </a:lnTo>
                  <a:lnTo>
                    <a:pt x="302302" y="1983"/>
                  </a:lnTo>
                  <a:lnTo>
                    <a:pt x="310880" y="0"/>
                  </a:lnTo>
                  <a:lnTo>
                    <a:pt x="328246" y="2435"/>
                  </a:lnTo>
                  <a:lnTo>
                    <a:pt x="343049" y="2968"/>
                  </a:lnTo>
                  <a:lnTo>
                    <a:pt x="350670" y="513"/>
                  </a:lnTo>
                  <a:lnTo>
                    <a:pt x="364652" y="19611"/>
                  </a:lnTo>
                  <a:lnTo>
                    <a:pt x="375017" y="22416"/>
                  </a:lnTo>
                  <a:lnTo>
                    <a:pt x="381196" y="18532"/>
                  </a:lnTo>
                  <a:lnTo>
                    <a:pt x="391869" y="20054"/>
                  </a:lnTo>
                  <a:lnTo>
                    <a:pt x="404724" y="15162"/>
                  </a:lnTo>
                  <a:lnTo>
                    <a:pt x="410207" y="2503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58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616760" y="4441875"/>
              <a:ext cx="169874" cy="202483"/>
            </a:xfrm>
            <a:custGeom>
              <a:avLst/>
              <a:gdLst/>
              <a:ahLst/>
              <a:cxnLst/>
              <a:rect l="0" t="0" r="0" b="0"/>
              <a:pathLst>
                <a:path w="169874" h="202483">
                  <a:moveTo>
                    <a:pt x="43898" y="196538"/>
                  </a:moveTo>
                  <a:lnTo>
                    <a:pt x="35248" y="188603"/>
                  </a:lnTo>
                  <a:lnTo>
                    <a:pt x="28273" y="192493"/>
                  </a:lnTo>
                  <a:lnTo>
                    <a:pt x="18956" y="202482"/>
                  </a:lnTo>
                  <a:lnTo>
                    <a:pt x="0" y="177985"/>
                  </a:lnTo>
                  <a:lnTo>
                    <a:pt x="17575" y="165227"/>
                  </a:lnTo>
                  <a:lnTo>
                    <a:pt x="8870" y="149949"/>
                  </a:lnTo>
                  <a:lnTo>
                    <a:pt x="16786" y="144141"/>
                  </a:lnTo>
                  <a:lnTo>
                    <a:pt x="32361" y="141312"/>
                  </a:lnTo>
                  <a:lnTo>
                    <a:pt x="34198" y="131078"/>
                  </a:lnTo>
                  <a:lnTo>
                    <a:pt x="46532" y="142168"/>
                  </a:lnTo>
                  <a:lnTo>
                    <a:pt x="66909" y="143140"/>
                  </a:lnTo>
                  <a:lnTo>
                    <a:pt x="73991" y="132227"/>
                  </a:lnTo>
                  <a:lnTo>
                    <a:pt x="76905" y="116876"/>
                  </a:lnTo>
                  <a:lnTo>
                    <a:pt x="74388" y="98852"/>
                  </a:lnTo>
                  <a:lnTo>
                    <a:pt x="63468" y="85201"/>
                  </a:lnTo>
                  <a:lnTo>
                    <a:pt x="73461" y="58466"/>
                  </a:lnTo>
                  <a:lnTo>
                    <a:pt x="67699" y="53878"/>
                  </a:lnTo>
                  <a:lnTo>
                    <a:pt x="50525" y="55759"/>
                  </a:lnTo>
                  <a:lnTo>
                    <a:pt x="44073" y="43829"/>
                  </a:lnTo>
                  <a:lnTo>
                    <a:pt x="45752" y="33756"/>
                  </a:lnTo>
                  <a:lnTo>
                    <a:pt x="74882" y="34662"/>
                  </a:lnTo>
                  <a:lnTo>
                    <a:pt x="93545" y="40755"/>
                  </a:lnTo>
                  <a:lnTo>
                    <a:pt x="111885" y="46212"/>
                  </a:lnTo>
                  <a:lnTo>
                    <a:pt x="113546" y="33744"/>
                  </a:lnTo>
                  <a:lnTo>
                    <a:pt x="125646" y="12247"/>
                  </a:lnTo>
                  <a:lnTo>
                    <a:pt x="139403" y="0"/>
                  </a:lnTo>
                  <a:lnTo>
                    <a:pt x="155027" y="3883"/>
                  </a:lnTo>
                  <a:lnTo>
                    <a:pt x="169873" y="5173"/>
                  </a:lnTo>
                  <a:lnTo>
                    <a:pt x="168505" y="19127"/>
                  </a:lnTo>
                  <a:lnTo>
                    <a:pt x="161591" y="31478"/>
                  </a:lnTo>
                  <a:lnTo>
                    <a:pt x="157080" y="45886"/>
                  </a:lnTo>
                  <a:lnTo>
                    <a:pt x="154202" y="66344"/>
                  </a:lnTo>
                  <a:lnTo>
                    <a:pt x="155411" y="79427"/>
                  </a:lnTo>
                  <a:lnTo>
                    <a:pt x="151649" y="87436"/>
                  </a:lnTo>
                  <a:lnTo>
                    <a:pt x="151074" y="95902"/>
                  </a:lnTo>
                  <a:lnTo>
                    <a:pt x="148421" y="103265"/>
                  </a:lnTo>
                  <a:lnTo>
                    <a:pt x="133223" y="114392"/>
                  </a:lnTo>
                  <a:lnTo>
                    <a:pt x="122646" y="126285"/>
                  </a:lnTo>
                  <a:lnTo>
                    <a:pt x="112621" y="148720"/>
                  </a:lnTo>
                  <a:lnTo>
                    <a:pt x="113394" y="167729"/>
                  </a:lnTo>
                  <a:lnTo>
                    <a:pt x="107560" y="175126"/>
                  </a:lnTo>
                  <a:lnTo>
                    <a:pt x="94114" y="186417"/>
                  </a:lnTo>
                  <a:lnTo>
                    <a:pt x="80532" y="200914"/>
                  </a:lnTo>
                  <a:lnTo>
                    <a:pt x="71909" y="196816"/>
                  </a:lnTo>
                  <a:lnTo>
                    <a:pt x="70430" y="190267"/>
                  </a:lnTo>
                  <a:lnTo>
                    <a:pt x="57856" y="190039"/>
                  </a:lnTo>
                  <a:lnTo>
                    <a:pt x="49962" y="19889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59"/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5116223" y="3668254"/>
              <a:ext cx="42582" cy="17594"/>
            </a:xfrm>
            <a:custGeom>
              <a:avLst/>
              <a:gdLst/>
              <a:ahLst/>
              <a:cxnLst/>
              <a:rect l="0" t="0" r="0" b="0"/>
              <a:pathLst>
                <a:path w="42582" h="17594">
                  <a:moveTo>
                    <a:pt x="0" y="13939"/>
                  </a:moveTo>
                  <a:lnTo>
                    <a:pt x="1632" y="13796"/>
                  </a:lnTo>
                  <a:lnTo>
                    <a:pt x="4968" y="7478"/>
                  </a:lnTo>
                  <a:lnTo>
                    <a:pt x="21593" y="7832"/>
                  </a:lnTo>
                  <a:lnTo>
                    <a:pt x="42581" y="0"/>
                  </a:lnTo>
                  <a:lnTo>
                    <a:pt x="26985" y="11171"/>
                  </a:lnTo>
                  <a:lnTo>
                    <a:pt x="28665" y="16072"/>
                  </a:lnTo>
                  <a:lnTo>
                    <a:pt x="26191" y="15155"/>
                  </a:lnTo>
                  <a:lnTo>
                    <a:pt x="21782" y="17135"/>
                  </a:lnTo>
                  <a:lnTo>
                    <a:pt x="18326" y="16590"/>
                  </a:lnTo>
                  <a:lnTo>
                    <a:pt x="17175" y="17593"/>
                  </a:lnTo>
                  <a:lnTo>
                    <a:pt x="16716" y="14949"/>
                  </a:lnTo>
                  <a:lnTo>
                    <a:pt x="15052" y="13346"/>
                  </a:lnTo>
                  <a:lnTo>
                    <a:pt x="10600" y="13073"/>
                  </a:lnTo>
                  <a:lnTo>
                    <a:pt x="4335" y="1530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60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5105257" y="3681327"/>
              <a:ext cx="40354" cy="15705"/>
            </a:xfrm>
            <a:custGeom>
              <a:avLst/>
              <a:gdLst/>
              <a:ahLst/>
              <a:cxnLst/>
              <a:rect l="0" t="0" r="0" b="0"/>
              <a:pathLst>
                <a:path w="40354" h="15705">
                  <a:moveTo>
                    <a:pt x="39631" y="2999"/>
                  </a:moveTo>
                  <a:lnTo>
                    <a:pt x="40353" y="5101"/>
                  </a:lnTo>
                  <a:lnTo>
                    <a:pt x="16692" y="15704"/>
                  </a:lnTo>
                  <a:lnTo>
                    <a:pt x="5392" y="12320"/>
                  </a:lnTo>
                  <a:lnTo>
                    <a:pt x="0" y="1829"/>
                  </a:lnTo>
                  <a:lnTo>
                    <a:pt x="10966" y="866"/>
                  </a:lnTo>
                  <a:lnTo>
                    <a:pt x="15301" y="2232"/>
                  </a:lnTo>
                  <a:lnTo>
                    <a:pt x="21566" y="0"/>
                  </a:lnTo>
                  <a:lnTo>
                    <a:pt x="26018" y="273"/>
                  </a:lnTo>
                  <a:lnTo>
                    <a:pt x="27682" y="1876"/>
                  </a:lnTo>
                  <a:lnTo>
                    <a:pt x="28141" y="4520"/>
                  </a:lnTo>
                  <a:lnTo>
                    <a:pt x="29292" y="3517"/>
                  </a:lnTo>
                  <a:lnTo>
                    <a:pt x="32748" y="4062"/>
                  </a:lnTo>
                  <a:lnTo>
                    <a:pt x="37157" y="208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61"/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643221" y="3232858"/>
              <a:ext cx="152647" cy="77061"/>
            </a:xfrm>
            <a:custGeom>
              <a:avLst/>
              <a:gdLst/>
              <a:ahLst/>
              <a:cxnLst/>
              <a:rect l="0" t="0" r="0" b="0"/>
              <a:pathLst>
                <a:path w="152647" h="77061">
                  <a:moveTo>
                    <a:pt x="108954" y="75825"/>
                  </a:moveTo>
                  <a:lnTo>
                    <a:pt x="98313" y="70220"/>
                  </a:lnTo>
                  <a:lnTo>
                    <a:pt x="87473" y="71762"/>
                  </a:lnTo>
                  <a:lnTo>
                    <a:pt x="69555" y="62683"/>
                  </a:lnTo>
                  <a:lnTo>
                    <a:pt x="61431" y="64908"/>
                  </a:lnTo>
                  <a:lnTo>
                    <a:pt x="48446" y="77060"/>
                  </a:lnTo>
                  <a:lnTo>
                    <a:pt x="31296" y="67504"/>
                  </a:lnTo>
                  <a:lnTo>
                    <a:pt x="18263" y="54685"/>
                  </a:lnTo>
                  <a:lnTo>
                    <a:pt x="6484" y="47491"/>
                  </a:lnTo>
                  <a:lnTo>
                    <a:pt x="4041" y="34820"/>
                  </a:lnTo>
                  <a:lnTo>
                    <a:pt x="0" y="25852"/>
                  </a:lnTo>
                  <a:lnTo>
                    <a:pt x="16775" y="19261"/>
                  </a:lnTo>
                  <a:lnTo>
                    <a:pt x="25345" y="11700"/>
                  </a:lnTo>
                  <a:lnTo>
                    <a:pt x="41921" y="5806"/>
                  </a:lnTo>
                  <a:lnTo>
                    <a:pt x="47710" y="0"/>
                  </a:lnTo>
                  <a:lnTo>
                    <a:pt x="53797" y="3507"/>
                  </a:lnTo>
                  <a:lnTo>
                    <a:pt x="64098" y="323"/>
                  </a:lnTo>
                  <a:lnTo>
                    <a:pt x="75039" y="10134"/>
                  </a:lnTo>
                  <a:lnTo>
                    <a:pt x="92297" y="12779"/>
                  </a:lnTo>
                  <a:lnTo>
                    <a:pt x="90857" y="21124"/>
                  </a:lnTo>
                  <a:lnTo>
                    <a:pt x="103396" y="27380"/>
                  </a:lnTo>
                  <a:lnTo>
                    <a:pt x="106842" y="19568"/>
                  </a:lnTo>
                  <a:lnTo>
                    <a:pt x="122672" y="22954"/>
                  </a:lnTo>
                  <a:lnTo>
                    <a:pt x="124862" y="32411"/>
                  </a:lnTo>
                  <a:lnTo>
                    <a:pt x="142023" y="34232"/>
                  </a:lnTo>
                  <a:lnTo>
                    <a:pt x="152646" y="49025"/>
                  </a:lnTo>
                  <a:lnTo>
                    <a:pt x="145764" y="49061"/>
                  </a:lnTo>
                  <a:lnTo>
                    <a:pt x="142187" y="54448"/>
                  </a:lnTo>
                  <a:lnTo>
                    <a:pt x="136889" y="55748"/>
                  </a:lnTo>
                  <a:lnTo>
                    <a:pt x="135377" y="62537"/>
                  </a:lnTo>
                  <a:lnTo>
                    <a:pt x="130957" y="63952"/>
                  </a:lnTo>
                  <a:lnTo>
                    <a:pt x="130333" y="66721"/>
                  </a:lnTo>
                  <a:lnTo>
                    <a:pt x="122451" y="69797"/>
                  </a:lnTo>
                  <a:lnTo>
                    <a:pt x="112225" y="6929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62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498921" y="3111903"/>
              <a:ext cx="208399" cy="234888"/>
            </a:xfrm>
            <a:custGeom>
              <a:avLst/>
              <a:gdLst/>
              <a:ahLst/>
              <a:cxnLst/>
              <a:rect l="0" t="0" r="0" b="0"/>
              <a:pathLst>
                <a:path w="208399" h="234888">
                  <a:moveTo>
                    <a:pt x="90790" y="0"/>
                  </a:moveTo>
                  <a:lnTo>
                    <a:pt x="91198" y="12366"/>
                  </a:lnTo>
                  <a:lnTo>
                    <a:pt x="114523" y="19792"/>
                  </a:lnTo>
                  <a:lnTo>
                    <a:pt x="114278" y="31058"/>
                  </a:lnTo>
                  <a:lnTo>
                    <a:pt x="137748" y="25103"/>
                  </a:lnTo>
                  <a:lnTo>
                    <a:pt x="150725" y="16392"/>
                  </a:lnTo>
                  <a:lnTo>
                    <a:pt x="176785" y="28941"/>
                  </a:lnTo>
                  <a:lnTo>
                    <a:pt x="187686" y="39014"/>
                  </a:lnTo>
                  <a:lnTo>
                    <a:pt x="193078" y="55023"/>
                  </a:lnTo>
                  <a:lnTo>
                    <a:pt x="186643" y="63379"/>
                  </a:lnTo>
                  <a:lnTo>
                    <a:pt x="195024" y="74492"/>
                  </a:lnTo>
                  <a:lnTo>
                    <a:pt x="200735" y="91076"/>
                  </a:lnTo>
                  <a:lnTo>
                    <a:pt x="198936" y="101708"/>
                  </a:lnTo>
                  <a:lnTo>
                    <a:pt x="208398" y="121278"/>
                  </a:lnTo>
                  <a:lnTo>
                    <a:pt x="198097" y="124462"/>
                  </a:lnTo>
                  <a:lnTo>
                    <a:pt x="192010" y="120955"/>
                  </a:lnTo>
                  <a:lnTo>
                    <a:pt x="186221" y="126761"/>
                  </a:lnTo>
                  <a:lnTo>
                    <a:pt x="169645" y="132655"/>
                  </a:lnTo>
                  <a:lnTo>
                    <a:pt x="161075" y="140216"/>
                  </a:lnTo>
                  <a:lnTo>
                    <a:pt x="144300" y="146807"/>
                  </a:lnTo>
                  <a:lnTo>
                    <a:pt x="148341" y="155775"/>
                  </a:lnTo>
                  <a:lnTo>
                    <a:pt x="150784" y="168446"/>
                  </a:lnTo>
                  <a:lnTo>
                    <a:pt x="162563" y="175640"/>
                  </a:lnTo>
                  <a:lnTo>
                    <a:pt x="175596" y="188459"/>
                  </a:lnTo>
                  <a:lnTo>
                    <a:pt x="167458" y="202137"/>
                  </a:lnTo>
                  <a:lnTo>
                    <a:pt x="159165" y="205891"/>
                  </a:lnTo>
                  <a:lnTo>
                    <a:pt x="162437" y="225075"/>
                  </a:lnTo>
                  <a:lnTo>
                    <a:pt x="160285" y="230055"/>
                  </a:lnTo>
                  <a:lnTo>
                    <a:pt x="153087" y="224053"/>
                  </a:lnTo>
                  <a:lnTo>
                    <a:pt x="142021" y="223152"/>
                  </a:lnTo>
                  <a:lnTo>
                    <a:pt x="125518" y="228412"/>
                  </a:lnTo>
                  <a:lnTo>
                    <a:pt x="105161" y="227162"/>
                  </a:lnTo>
                  <a:lnTo>
                    <a:pt x="101873" y="234887"/>
                  </a:lnTo>
                  <a:lnTo>
                    <a:pt x="90193" y="226758"/>
                  </a:lnTo>
                  <a:lnTo>
                    <a:pt x="83226" y="228374"/>
                  </a:lnTo>
                  <a:lnTo>
                    <a:pt x="58490" y="219399"/>
                  </a:lnTo>
                  <a:lnTo>
                    <a:pt x="53751" y="225779"/>
                  </a:lnTo>
                  <a:lnTo>
                    <a:pt x="34118" y="225574"/>
                  </a:lnTo>
                  <a:lnTo>
                    <a:pt x="37048" y="204595"/>
                  </a:lnTo>
                  <a:lnTo>
                    <a:pt x="48718" y="184273"/>
                  </a:lnTo>
                  <a:lnTo>
                    <a:pt x="15455" y="178780"/>
                  </a:lnTo>
                  <a:lnTo>
                    <a:pt x="4562" y="170951"/>
                  </a:lnTo>
                  <a:lnTo>
                    <a:pt x="5865" y="157789"/>
                  </a:lnTo>
                  <a:lnTo>
                    <a:pt x="1256" y="150983"/>
                  </a:lnTo>
                  <a:lnTo>
                    <a:pt x="3878" y="130511"/>
                  </a:lnTo>
                  <a:lnTo>
                    <a:pt x="0" y="98431"/>
                  </a:lnTo>
                  <a:lnTo>
                    <a:pt x="13866" y="98418"/>
                  </a:lnTo>
                  <a:lnTo>
                    <a:pt x="19717" y="86793"/>
                  </a:lnTo>
                  <a:lnTo>
                    <a:pt x="25469" y="58286"/>
                  </a:lnTo>
                  <a:lnTo>
                    <a:pt x="21155" y="47675"/>
                  </a:lnTo>
                  <a:lnTo>
                    <a:pt x="25662" y="41005"/>
                  </a:lnTo>
                  <a:lnTo>
                    <a:pt x="44955" y="39290"/>
                  </a:lnTo>
                  <a:lnTo>
                    <a:pt x="49236" y="46240"/>
                  </a:lnTo>
                  <a:lnTo>
                    <a:pt x="64910" y="30675"/>
                  </a:lnTo>
                  <a:lnTo>
                    <a:pt x="59633" y="18772"/>
                  </a:lnTo>
                  <a:lnTo>
                    <a:pt x="58574" y="653"/>
                  </a:lnTo>
                  <a:lnTo>
                    <a:pt x="76020" y="4879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63"/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5322351" y="4233281"/>
              <a:ext cx="38228" cy="41485"/>
            </a:xfrm>
            <a:custGeom>
              <a:avLst/>
              <a:gdLst/>
              <a:ahLst/>
              <a:cxnLst/>
              <a:rect l="0" t="0" r="0" b="0"/>
              <a:pathLst>
                <a:path w="38228" h="41485">
                  <a:moveTo>
                    <a:pt x="32766" y="0"/>
                  </a:moveTo>
                  <a:lnTo>
                    <a:pt x="38227" y="7254"/>
                  </a:lnTo>
                  <a:lnTo>
                    <a:pt x="37501" y="16979"/>
                  </a:lnTo>
                  <a:lnTo>
                    <a:pt x="24332" y="22579"/>
                  </a:lnTo>
                  <a:lnTo>
                    <a:pt x="34245" y="28978"/>
                  </a:lnTo>
                  <a:lnTo>
                    <a:pt x="25740" y="41484"/>
                  </a:lnTo>
                  <a:lnTo>
                    <a:pt x="20617" y="37321"/>
                  </a:lnTo>
                  <a:lnTo>
                    <a:pt x="15059" y="38977"/>
                  </a:lnTo>
                  <a:lnTo>
                    <a:pt x="2166" y="38587"/>
                  </a:lnTo>
                  <a:lnTo>
                    <a:pt x="1797" y="31478"/>
                  </a:lnTo>
                  <a:lnTo>
                    <a:pt x="0" y="25022"/>
                  </a:lnTo>
                  <a:lnTo>
                    <a:pt x="7808" y="14051"/>
                  </a:lnTo>
                  <a:lnTo>
                    <a:pt x="15923" y="3690"/>
                  </a:lnTo>
                  <a:lnTo>
                    <a:pt x="25804" y="572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64"/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160227" y="3630027"/>
              <a:ext cx="477441" cy="452765"/>
            </a:xfrm>
            <a:custGeom>
              <a:avLst/>
              <a:gdLst/>
              <a:ahLst/>
              <a:cxnLst/>
              <a:rect l="0" t="0" r="0" b="0"/>
              <a:pathLst>
                <a:path w="477441" h="452765">
                  <a:moveTo>
                    <a:pt x="477440" y="346187"/>
                  </a:moveTo>
                  <a:lnTo>
                    <a:pt x="398345" y="392453"/>
                  </a:lnTo>
                  <a:lnTo>
                    <a:pt x="331513" y="439739"/>
                  </a:lnTo>
                  <a:lnTo>
                    <a:pt x="298963" y="450421"/>
                  </a:lnTo>
                  <a:lnTo>
                    <a:pt x="273358" y="452764"/>
                  </a:lnTo>
                  <a:lnTo>
                    <a:pt x="273093" y="437524"/>
                  </a:lnTo>
                  <a:lnTo>
                    <a:pt x="262404" y="433621"/>
                  </a:lnTo>
                  <a:lnTo>
                    <a:pt x="248033" y="426754"/>
                  </a:lnTo>
                  <a:lnTo>
                    <a:pt x="242545" y="415485"/>
                  </a:lnTo>
                  <a:lnTo>
                    <a:pt x="164680" y="362715"/>
                  </a:lnTo>
                  <a:lnTo>
                    <a:pt x="86816" y="309412"/>
                  </a:lnTo>
                  <a:lnTo>
                    <a:pt x="0" y="249566"/>
                  </a:lnTo>
                  <a:lnTo>
                    <a:pt x="445" y="244743"/>
                  </a:lnTo>
                  <a:lnTo>
                    <a:pt x="435" y="243075"/>
                  </a:lnTo>
                  <a:lnTo>
                    <a:pt x="238" y="213450"/>
                  </a:lnTo>
                  <a:lnTo>
                    <a:pt x="37514" y="194895"/>
                  </a:lnTo>
                  <a:lnTo>
                    <a:pt x="60564" y="191050"/>
                  </a:lnTo>
                  <a:lnTo>
                    <a:pt x="79457" y="184265"/>
                  </a:lnTo>
                  <a:lnTo>
                    <a:pt x="88286" y="171593"/>
                  </a:lnTo>
                  <a:lnTo>
                    <a:pt x="115274" y="161549"/>
                  </a:lnTo>
                  <a:lnTo>
                    <a:pt x="116265" y="142691"/>
                  </a:lnTo>
                  <a:lnTo>
                    <a:pt x="129619" y="140464"/>
                  </a:lnTo>
                  <a:lnTo>
                    <a:pt x="140061" y="131004"/>
                  </a:lnTo>
                  <a:lnTo>
                    <a:pt x="170270" y="126684"/>
                  </a:lnTo>
                  <a:lnTo>
                    <a:pt x="174502" y="116706"/>
                  </a:lnTo>
                  <a:lnTo>
                    <a:pt x="168420" y="111240"/>
                  </a:lnTo>
                  <a:lnTo>
                    <a:pt x="160447" y="83959"/>
                  </a:lnTo>
                  <a:lnTo>
                    <a:pt x="159073" y="68149"/>
                  </a:lnTo>
                  <a:lnTo>
                    <a:pt x="150372" y="51424"/>
                  </a:lnTo>
                  <a:lnTo>
                    <a:pt x="172562" y="37091"/>
                  </a:lnTo>
                  <a:lnTo>
                    <a:pt x="197517" y="32519"/>
                  </a:lnTo>
                  <a:lnTo>
                    <a:pt x="212090" y="21643"/>
                  </a:lnTo>
                  <a:lnTo>
                    <a:pt x="234320" y="13597"/>
                  </a:lnTo>
                  <a:lnTo>
                    <a:pt x="273440" y="8876"/>
                  </a:lnTo>
                  <a:lnTo>
                    <a:pt x="311620" y="6725"/>
                  </a:lnTo>
                  <a:lnTo>
                    <a:pt x="323262" y="10662"/>
                  </a:lnTo>
                  <a:lnTo>
                    <a:pt x="344999" y="206"/>
                  </a:lnTo>
                  <a:lnTo>
                    <a:pt x="369664" y="0"/>
                  </a:lnTo>
                  <a:lnTo>
                    <a:pt x="379052" y="6177"/>
                  </a:lnTo>
                  <a:lnTo>
                    <a:pt x="394838" y="4567"/>
                  </a:lnTo>
                  <a:lnTo>
                    <a:pt x="390149" y="18158"/>
                  </a:lnTo>
                  <a:lnTo>
                    <a:pt x="393809" y="43261"/>
                  </a:lnTo>
                  <a:lnTo>
                    <a:pt x="388375" y="64833"/>
                  </a:lnTo>
                  <a:lnTo>
                    <a:pt x="374145" y="79348"/>
                  </a:lnTo>
                  <a:lnTo>
                    <a:pt x="376179" y="98858"/>
                  </a:lnTo>
                  <a:lnTo>
                    <a:pt x="395057" y="114217"/>
                  </a:lnTo>
                  <a:lnTo>
                    <a:pt x="395257" y="120438"/>
                  </a:lnTo>
                  <a:lnTo>
                    <a:pt x="409487" y="130790"/>
                  </a:lnTo>
                  <a:lnTo>
                    <a:pt x="419333" y="176498"/>
                  </a:lnTo>
                  <a:lnTo>
                    <a:pt x="426800" y="198789"/>
                  </a:lnTo>
                  <a:lnTo>
                    <a:pt x="428055" y="210471"/>
                  </a:lnTo>
                  <a:lnTo>
                    <a:pt x="423989" y="230905"/>
                  </a:lnTo>
                  <a:lnTo>
                    <a:pt x="425657" y="242282"/>
                  </a:lnTo>
                  <a:lnTo>
                    <a:pt x="422724" y="255901"/>
                  </a:lnTo>
                  <a:lnTo>
                    <a:pt x="424737" y="271495"/>
                  </a:lnTo>
                  <a:lnTo>
                    <a:pt x="415576" y="281830"/>
                  </a:lnTo>
                  <a:lnTo>
                    <a:pt x="429225" y="299802"/>
                  </a:lnTo>
                  <a:lnTo>
                    <a:pt x="430092" y="310336"/>
                  </a:lnTo>
                  <a:lnTo>
                    <a:pt x="438300" y="324010"/>
                  </a:lnTo>
                  <a:lnTo>
                    <a:pt x="449091" y="319522"/>
                  </a:lnTo>
                  <a:lnTo>
                    <a:pt x="467311" y="33089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65"/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930830" y="3774036"/>
              <a:ext cx="280829" cy="237937"/>
            </a:xfrm>
            <a:custGeom>
              <a:avLst/>
              <a:gdLst/>
              <a:ahLst/>
              <a:cxnLst/>
              <a:rect l="0" t="0" r="0" b="0"/>
              <a:pathLst>
                <a:path w="280829" h="237937">
                  <a:moveTo>
                    <a:pt x="235964" y="52848"/>
                  </a:moveTo>
                  <a:lnTo>
                    <a:pt x="229481" y="62960"/>
                  </a:lnTo>
                  <a:lnTo>
                    <a:pt x="224513" y="81900"/>
                  </a:lnTo>
                  <a:lnTo>
                    <a:pt x="218234" y="94906"/>
                  </a:lnTo>
                  <a:lnTo>
                    <a:pt x="212852" y="99259"/>
                  </a:lnTo>
                  <a:lnTo>
                    <a:pt x="205160" y="91212"/>
                  </a:lnTo>
                  <a:lnTo>
                    <a:pt x="194742" y="80057"/>
                  </a:lnTo>
                  <a:lnTo>
                    <a:pt x="178271" y="44029"/>
                  </a:lnTo>
                  <a:lnTo>
                    <a:pt x="175899" y="46316"/>
                  </a:lnTo>
                  <a:lnTo>
                    <a:pt x="185464" y="72854"/>
                  </a:lnTo>
                  <a:lnTo>
                    <a:pt x="199635" y="97983"/>
                  </a:lnTo>
                  <a:lnTo>
                    <a:pt x="217081" y="136637"/>
                  </a:lnTo>
                  <a:lnTo>
                    <a:pt x="225606" y="150053"/>
                  </a:lnTo>
                  <a:lnTo>
                    <a:pt x="233020" y="163950"/>
                  </a:lnTo>
                  <a:lnTo>
                    <a:pt x="253733" y="191072"/>
                  </a:lnTo>
                  <a:lnTo>
                    <a:pt x="249146" y="195330"/>
                  </a:lnTo>
                  <a:lnTo>
                    <a:pt x="249891" y="211172"/>
                  </a:lnTo>
                  <a:lnTo>
                    <a:pt x="276776" y="232973"/>
                  </a:lnTo>
                  <a:lnTo>
                    <a:pt x="280828" y="237936"/>
                  </a:lnTo>
                  <a:lnTo>
                    <a:pt x="189276" y="237936"/>
                  </a:lnTo>
                  <a:lnTo>
                    <a:pt x="99716" y="237936"/>
                  </a:lnTo>
                  <a:lnTo>
                    <a:pt x="6923" y="237936"/>
                  </a:lnTo>
                  <a:lnTo>
                    <a:pt x="6923" y="147984"/>
                  </a:lnTo>
                  <a:lnTo>
                    <a:pt x="6923" y="59460"/>
                  </a:lnTo>
                  <a:lnTo>
                    <a:pt x="0" y="39151"/>
                  </a:lnTo>
                  <a:lnTo>
                    <a:pt x="5945" y="23516"/>
                  </a:lnTo>
                  <a:lnTo>
                    <a:pt x="2373" y="12650"/>
                  </a:lnTo>
                  <a:lnTo>
                    <a:pt x="10728" y="422"/>
                  </a:lnTo>
                  <a:lnTo>
                    <a:pt x="41440" y="0"/>
                  </a:lnTo>
                  <a:lnTo>
                    <a:pt x="63652" y="6743"/>
                  </a:lnTo>
                  <a:lnTo>
                    <a:pt x="86570" y="14266"/>
                  </a:lnTo>
                  <a:lnTo>
                    <a:pt x="97258" y="18224"/>
                  </a:lnTo>
                  <a:lnTo>
                    <a:pt x="115029" y="10167"/>
                  </a:lnTo>
                  <a:lnTo>
                    <a:pt x="124530" y="2865"/>
                  </a:lnTo>
                  <a:lnTo>
                    <a:pt x="144887" y="761"/>
                  </a:lnTo>
                  <a:lnTo>
                    <a:pt x="161299" y="3982"/>
                  </a:lnTo>
                  <a:lnTo>
                    <a:pt x="167588" y="16609"/>
                  </a:lnTo>
                  <a:lnTo>
                    <a:pt x="172945" y="8296"/>
                  </a:lnTo>
                  <a:lnTo>
                    <a:pt x="191445" y="14309"/>
                  </a:lnTo>
                  <a:lnTo>
                    <a:pt x="209437" y="15748"/>
                  </a:lnTo>
                  <a:lnTo>
                    <a:pt x="220795" y="933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66"/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5199123" y="4108078"/>
              <a:ext cx="155995" cy="130929"/>
            </a:xfrm>
            <a:custGeom>
              <a:avLst/>
              <a:gdLst/>
              <a:ahLst/>
              <a:cxnLst/>
              <a:rect l="0" t="0" r="0" b="0"/>
              <a:pathLst>
                <a:path w="155995" h="130929">
                  <a:moveTo>
                    <a:pt x="139151" y="128893"/>
                  </a:moveTo>
                  <a:lnTo>
                    <a:pt x="131261" y="121305"/>
                  </a:lnTo>
                  <a:lnTo>
                    <a:pt x="121770" y="107540"/>
                  </a:lnTo>
                  <a:lnTo>
                    <a:pt x="111535" y="99990"/>
                  </a:lnTo>
                  <a:lnTo>
                    <a:pt x="105566" y="91865"/>
                  </a:lnTo>
                  <a:lnTo>
                    <a:pt x="85476" y="82422"/>
                  </a:lnTo>
                  <a:lnTo>
                    <a:pt x="69650" y="82140"/>
                  </a:lnTo>
                  <a:lnTo>
                    <a:pt x="64082" y="77211"/>
                  </a:lnTo>
                  <a:lnTo>
                    <a:pt x="50545" y="82755"/>
                  </a:lnTo>
                  <a:lnTo>
                    <a:pt x="36537" y="72050"/>
                  </a:lnTo>
                  <a:lnTo>
                    <a:pt x="29328" y="89641"/>
                  </a:lnTo>
                  <a:lnTo>
                    <a:pt x="2454" y="84719"/>
                  </a:lnTo>
                  <a:lnTo>
                    <a:pt x="0" y="75281"/>
                  </a:lnTo>
                  <a:lnTo>
                    <a:pt x="9941" y="40547"/>
                  </a:lnTo>
                  <a:lnTo>
                    <a:pt x="12219" y="24781"/>
                  </a:lnTo>
                  <a:lnTo>
                    <a:pt x="19488" y="17498"/>
                  </a:lnTo>
                  <a:lnTo>
                    <a:pt x="36489" y="13589"/>
                  </a:lnTo>
                  <a:lnTo>
                    <a:pt x="48171" y="0"/>
                  </a:lnTo>
                  <a:lnTo>
                    <a:pt x="61571" y="27534"/>
                  </a:lnTo>
                  <a:lnTo>
                    <a:pt x="67930" y="49288"/>
                  </a:lnTo>
                  <a:lnTo>
                    <a:pt x="80584" y="60806"/>
                  </a:lnTo>
                  <a:lnTo>
                    <a:pt x="112091" y="83094"/>
                  </a:lnTo>
                  <a:lnTo>
                    <a:pt x="124918" y="96515"/>
                  </a:lnTo>
                  <a:lnTo>
                    <a:pt x="137426" y="110080"/>
                  </a:lnTo>
                  <a:lnTo>
                    <a:pt x="144645" y="118147"/>
                  </a:lnTo>
                  <a:lnTo>
                    <a:pt x="155994" y="125203"/>
                  </a:lnTo>
                  <a:lnTo>
                    <a:pt x="149032" y="13092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67"/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143873" y="3448764"/>
              <a:ext cx="286974" cy="212252"/>
            </a:xfrm>
            <a:custGeom>
              <a:avLst/>
              <a:gdLst/>
              <a:ahLst/>
              <a:cxnLst/>
              <a:rect l="0" t="0" r="0" b="0"/>
              <a:pathLst>
                <a:path w="286974" h="212252">
                  <a:moveTo>
                    <a:pt x="8266" y="52162"/>
                  </a:moveTo>
                  <a:lnTo>
                    <a:pt x="9429" y="32381"/>
                  </a:lnTo>
                  <a:lnTo>
                    <a:pt x="0" y="20266"/>
                  </a:lnTo>
                  <a:lnTo>
                    <a:pt x="32655" y="0"/>
                  </a:lnTo>
                  <a:lnTo>
                    <a:pt x="60902" y="5080"/>
                  </a:lnTo>
                  <a:lnTo>
                    <a:pt x="91892" y="4902"/>
                  </a:lnTo>
                  <a:lnTo>
                    <a:pt x="116454" y="9702"/>
                  </a:lnTo>
                  <a:lnTo>
                    <a:pt x="135619" y="8229"/>
                  </a:lnTo>
                  <a:lnTo>
                    <a:pt x="172925" y="9159"/>
                  </a:lnTo>
                  <a:lnTo>
                    <a:pt x="182125" y="20059"/>
                  </a:lnTo>
                  <a:lnTo>
                    <a:pt x="224617" y="32749"/>
                  </a:lnTo>
                  <a:lnTo>
                    <a:pt x="233008" y="26720"/>
                  </a:lnTo>
                  <a:lnTo>
                    <a:pt x="258981" y="39323"/>
                  </a:lnTo>
                  <a:lnTo>
                    <a:pt x="285738" y="35716"/>
                  </a:lnTo>
                  <a:lnTo>
                    <a:pt x="286973" y="51842"/>
                  </a:lnTo>
                  <a:lnTo>
                    <a:pt x="265099" y="70225"/>
                  </a:lnTo>
                  <a:lnTo>
                    <a:pt x="235522" y="76036"/>
                  </a:lnTo>
                  <a:lnTo>
                    <a:pt x="233464" y="85261"/>
                  </a:lnTo>
                  <a:lnTo>
                    <a:pt x="219276" y="100404"/>
                  </a:lnTo>
                  <a:lnTo>
                    <a:pt x="210380" y="122504"/>
                  </a:lnTo>
                  <a:lnTo>
                    <a:pt x="219382" y="137929"/>
                  </a:lnTo>
                  <a:lnTo>
                    <a:pt x="206031" y="149920"/>
                  </a:lnTo>
                  <a:lnTo>
                    <a:pt x="201039" y="167311"/>
                  </a:lnTo>
                  <a:lnTo>
                    <a:pt x="183612" y="172625"/>
                  </a:lnTo>
                  <a:lnTo>
                    <a:pt x="167268" y="193047"/>
                  </a:lnTo>
                  <a:lnTo>
                    <a:pt x="137968" y="193451"/>
                  </a:lnTo>
                  <a:lnTo>
                    <a:pt x="115967" y="192949"/>
                  </a:lnTo>
                  <a:lnTo>
                    <a:pt x="101511" y="202287"/>
                  </a:lnTo>
                  <a:lnTo>
                    <a:pt x="92694" y="212251"/>
                  </a:lnTo>
                  <a:lnTo>
                    <a:pt x="81400" y="210065"/>
                  </a:lnTo>
                  <a:lnTo>
                    <a:pt x="72854" y="201152"/>
                  </a:lnTo>
                  <a:lnTo>
                    <a:pt x="66310" y="185923"/>
                  </a:lnTo>
                  <a:lnTo>
                    <a:pt x="44762" y="181811"/>
                  </a:lnTo>
                  <a:lnTo>
                    <a:pt x="42837" y="173002"/>
                  </a:lnTo>
                  <a:lnTo>
                    <a:pt x="51391" y="162998"/>
                  </a:lnTo>
                  <a:lnTo>
                    <a:pt x="54559" y="155725"/>
                  </a:lnTo>
                  <a:lnTo>
                    <a:pt x="46600" y="147754"/>
                  </a:lnTo>
                  <a:lnTo>
                    <a:pt x="52972" y="130069"/>
                  </a:lnTo>
                  <a:lnTo>
                    <a:pt x="43725" y="113845"/>
                  </a:lnTo>
                  <a:lnTo>
                    <a:pt x="53698" y="111611"/>
                  </a:lnTo>
                  <a:lnTo>
                    <a:pt x="54625" y="98752"/>
                  </a:lnTo>
                  <a:lnTo>
                    <a:pt x="58374" y="94760"/>
                  </a:lnTo>
                  <a:lnTo>
                    <a:pt x="58671" y="73388"/>
                  </a:lnTo>
                  <a:lnTo>
                    <a:pt x="69336" y="65937"/>
                  </a:lnTo>
                  <a:lnTo>
                    <a:pt x="62884" y="52084"/>
                  </a:lnTo>
                  <a:lnTo>
                    <a:pt x="49434" y="51116"/>
                  </a:lnTo>
                  <a:lnTo>
                    <a:pt x="45482" y="54611"/>
                  </a:lnTo>
                  <a:lnTo>
                    <a:pt x="31848" y="54643"/>
                  </a:lnTo>
                  <a:lnTo>
                    <a:pt x="26062" y="41071"/>
                  </a:lnTo>
                  <a:lnTo>
                    <a:pt x="16642" y="4511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68"/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899432" y="2958486"/>
              <a:ext cx="110610" cy="72100"/>
            </a:xfrm>
            <a:custGeom>
              <a:avLst/>
              <a:gdLst/>
              <a:ahLst/>
              <a:cxnLst/>
              <a:rect l="0" t="0" r="0" b="0"/>
              <a:pathLst>
                <a:path w="110610" h="72100">
                  <a:moveTo>
                    <a:pt x="22460" y="61482"/>
                  </a:moveTo>
                  <a:lnTo>
                    <a:pt x="25140" y="41708"/>
                  </a:lnTo>
                  <a:lnTo>
                    <a:pt x="16651" y="45947"/>
                  </a:lnTo>
                  <a:lnTo>
                    <a:pt x="2002" y="33975"/>
                  </a:lnTo>
                  <a:lnTo>
                    <a:pt x="0" y="14487"/>
                  </a:lnTo>
                  <a:lnTo>
                    <a:pt x="29185" y="4975"/>
                  </a:lnTo>
                  <a:lnTo>
                    <a:pt x="58269" y="0"/>
                  </a:lnTo>
                  <a:lnTo>
                    <a:pt x="83313" y="5661"/>
                  </a:lnTo>
                  <a:lnTo>
                    <a:pt x="107133" y="4649"/>
                  </a:lnTo>
                  <a:lnTo>
                    <a:pt x="110609" y="10614"/>
                  </a:lnTo>
                  <a:lnTo>
                    <a:pt x="94185" y="30195"/>
                  </a:lnTo>
                  <a:lnTo>
                    <a:pt x="101030" y="61533"/>
                  </a:lnTo>
                  <a:lnTo>
                    <a:pt x="91139" y="72099"/>
                  </a:lnTo>
                  <a:lnTo>
                    <a:pt x="72104" y="72037"/>
                  </a:lnTo>
                  <a:lnTo>
                    <a:pt x="52236" y="59676"/>
                  </a:lnTo>
                  <a:lnTo>
                    <a:pt x="42121" y="5557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69"/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5121357" y="4180128"/>
              <a:ext cx="342438" cy="268823"/>
            </a:xfrm>
            <a:custGeom>
              <a:avLst/>
              <a:gdLst/>
              <a:ahLst/>
              <a:cxnLst/>
              <a:rect l="0" t="0" r="0" b="0"/>
              <a:pathLst>
                <a:path w="342438" h="268823">
                  <a:moveTo>
                    <a:pt x="114303" y="0"/>
                  </a:moveTo>
                  <a:lnTo>
                    <a:pt x="128311" y="10705"/>
                  </a:lnTo>
                  <a:lnTo>
                    <a:pt x="141848" y="5161"/>
                  </a:lnTo>
                  <a:lnTo>
                    <a:pt x="147416" y="10090"/>
                  </a:lnTo>
                  <a:lnTo>
                    <a:pt x="163243" y="10372"/>
                  </a:lnTo>
                  <a:lnTo>
                    <a:pt x="183332" y="19815"/>
                  </a:lnTo>
                  <a:lnTo>
                    <a:pt x="189302" y="27939"/>
                  </a:lnTo>
                  <a:lnTo>
                    <a:pt x="199536" y="35490"/>
                  </a:lnTo>
                  <a:lnTo>
                    <a:pt x="209027" y="49255"/>
                  </a:lnTo>
                  <a:lnTo>
                    <a:pt x="216917" y="56843"/>
                  </a:lnTo>
                  <a:lnTo>
                    <a:pt x="208802" y="67204"/>
                  </a:lnTo>
                  <a:lnTo>
                    <a:pt x="200994" y="78175"/>
                  </a:lnTo>
                  <a:lnTo>
                    <a:pt x="202791" y="84631"/>
                  </a:lnTo>
                  <a:lnTo>
                    <a:pt x="203160" y="91740"/>
                  </a:lnTo>
                  <a:lnTo>
                    <a:pt x="216053" y="92130"/>
                  </a:lnTo>
                  <a:lnTo>
                    <a:pt x="221611" y="90474"/>
                  </a:lnTo>
                  <a:lnTo>
                    <a:pt x="226734" y="94637"/>
                  </a:lnTo>
                  <a:lnTo>
                    <a:pt x="221699" y="102908"/>
                  </a:lnTo>
                  <a:lnTo>
                    <a:pt x="230225" y="115751"/>
                  </a:lnTo>
                  <a:lnTo>
                    <a:pt x="238740" y="126968"/>
                  </a:lnTo>
                  <a:lnTo>
                    <a:pt x="247552" y="135278"/>
                  </a:lnTo>
                  <a:lnTo>
                    <a:pt x="323023" y="162869"/>
                  </a:lnTo>
                  <a:lnTo>
                    <a:pt x="342437" y="162726"/>
                  </a:lnTo>
                  <a:lnTo>
                    <a:pt x="277210" y="232298"/>
                  </a:lnTo>
                  <a:lnTo>
                    <a:pt x="247139" y="233318"/>
                  </a:lnTo>
                  <a:lnTo>
                    <a:pt x="226568" y="249624"/>
                  </a:lnTo>
                  <a:lnTo>
                    <a:pt x="211771" y="250050"/>
                  </a:lnTo>
                  <a:lnTo>
                    <a:pt x="205457" y="257338"/>
                  </a:lnTo>
                  <a:lnTo>
                    <a:pt x="189685" y="257334"/>
                  </a:lnTo>
                  <a:lnTo>
                    <a:pt x="180375" y="249521"/>
                  </a:lnTo>
                  <a:lnTo>
                    <a:pt x="159288" y="259191"/>
                  </a:lnTo>
                  <a:lnTo>
                    <a:pt x="152466" y="268822"/>
                  </a:lnTo>
                  <a:lnTo>
                    <a:pt x="137073" y="267004"/>
                  </a:lnTo>
                  <a:lnTo>
                    <a:pt x="131963" y="264339"/>
                  </a:lnTo>
                  <a:lnTo>
                    <a:pt x="126558" y="264975"/>
                  </a:lnTo>
                  <a:lnTo>
                    <a:pt x="119262" y="264742"/>
                  </a:lnTo>
                  <a:lnTo>
                    <a:pt x="90044" y="245108"/>
                  </a:lnTo>
                  <a:lnTo>
                    <a:pt x="73978" y="245108"/>
                  </a:lnTo>
                  <a:lnTo>
                    <a:pt x="66092" y="237496"/>
                  </a:lnTo>
                  <a:lnTo>
                    <a:pt x="66092" y="224508"/>
                  </a:lnTo>
                  <a:lnTo>
                    <a:pt x="54102" y="220624"/>
                  </a:lnTo>
                  <a:lnTo>
                    <a:pt x="40460" y="195415"/>
                  </a:lnTo>
                  <a:lnTo>
                    <a:pt x="29918" y="190039"/>
                  </a:lnTo>
                  <a:lnTo>
                    <a:pt x="25874" y="180765"/>
                  </a:lnTo>
                  <a:lnTo>
                    <a:pt x="14175" y="169453"/>
                  </a:lnTo>
                  <a:lnTo>
                    <a:pt x="0" y="167790"/>
                  </a:lnTo>
                  <a:lnTo>
                    <a:pt x="7862" y="154558"/>
                  </a:lnTo>
                  <a:lnTo>
                    <a:pt x="20113" y="153987"/>
                  </a:lnTo>
                  <a:lnTo>
                    <a:pt x="23563" y="146887"/>
                  </a:lnTo>
                  <a:lnTo>
                    <a:pt x="23255" y="125965"/>
                  </a:lnTo>
                  <a:lnTo>
                    <a:pt x="30083" y="101566"/>
                  </a:lnTo>
                  <a:lnTo>
                    <a:pt x="41017" y="95027"/>
                  </a:lnTo>
                  <a:lnTo>
                    <a:pt x="43337" y="85476"/>
                  </a:lnTo>
                  <a:lnTo>
                    <a:pt x="53236" y="67605"/>
                  </a:lnTo>
                  <a:lnTo>
                    <a:pt x="67158" y="55998"/>
                  </a:lnTo>
                  <a:lnTo>
                    <a:pt x="76543" y="32876"/>
                  </a:lnTo>
                  <a:lnTo>
                    <a:pt x="80220" y="12669"/>
                  </a:lnTo>
                  <a:lnTo>
                    <a:pt x="107094" y="1759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70"/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837242" y="2562085"/>
              <a:ext cx="250921" cy="388320"/>
            </a:xfrm>
            <a:custGeom>
              <a:avLst/>
              <a:gdLst/>
              <a:ahLst/>
              <a:cxnLst/>
              <a:rect l="0" t="0" r="0" b="0"/>
              <a:pathLst>
                <a:path w="250921" h="388320">
                  <a:moveTo>
                    <a:pt x="183423" y="45026"/>
                  </a:moveTo>
                  <a:lnTo>
                    <a:pt x="180053" y="73184"/>
                  </a:lnTo>
                  <a:lnTo>
                    <a:pt x="215404" y="99622"/>
                  </a:lnTo>
                  <a:lnTo>
                    <a:pt x="194102" y="129132"/>
                  </a:lnTo>
                  <a:lnTo>
                    <a:pt x="220948" y="172895"/>
                  </a:lnTo>
                  <a:lnTo>
                    <a:pt x="205409" y="205257"/>
                  </a:lnTo>
                  <a:lnTo>
                    <a:pt x="226189" y="232951"/>
                  </a:lnTo>
                  <a:lnTo>
                    <a:pt x="216753" y="256906"/>
                  </a:lnTo>
                  <a:lnTo>
                    <a:pt x="250920" y="281805"/>
                  </a:lnTo>
                  <a:lnTo>
                    <a:pt x="242239" y="300154"/>
                  </a:lnTo>
                  <a:lnTo>
                    <a:pt x="220798" y="320751"/>
                  </a:lnTo>
                  <a:lnTo>
                    <a:pt x="171375" y="365587"/>
                  </a:lnTo>
                  <a:lnTo>
                    <a:pt x="129484" y="368352"/>
                  </a:lnTo>
                  <a:lnTo>
                    <a:pt x="88892" y="381047"/>
                  </a:lnTo>
                  <a:lnTo>
                    <a:pt x="51338" y="388319"/>
                  </a:lnTo>
                  <a:lnTo>
                    <a:pt x="37975" y="369464"/>
                  </a:lnTo>
                  <a:lnTo>
                    <a:pt x="15619" y="358042"/>
                  </a:lnTo>
                  <a:lnTo>
                    <a:pt x="20758" y="323400"/>
                  </a:lnTo>
                  <a:lnTo>
                    <a:pt x="9547" y="291189"/>
                  </a:lnTo>
                  <a:lnTo>
                    <a:pt x="20554" y="270137"/>
                  </a:lnTo>
                  <a:lnTo>
                    <a:pt x="41483" y="247197"/>
                  </a:lnTo>
                  <a:lnTo>
                    <a:pt x="94291" y="206992"/>
                  </a:lnTo>
                  <a:lnTo>
                    <a:pt x="109700" y="199152"/>
                  </a:lnTo>
                  <a:lnTo>
                    <a:pt x="107299" y="183203"/>
                  </a:lnTo>
                  <a:lnTo>
                    <a:pt x="75198" y="165237"/>
                  </a:lnTo>
                  <a:lnTo>
                    <a:pt x="67408" y="150325"/>
                  </a:lnTo>
                  <a:lnTo>
                    <a:pt x="66799" y="90229"/>
                  </a:lnTo>
                  <a:lnTo>
                    <a:pt x="30768" y="63086"/>
                  </a:lnTo>
                  <a:lnTo>
                    <a:pt x="0" y="43346"/>
                  </a:lnTo>
                  <a:lnTo>
                    <a:pt x="13834" y="32609"/>
                  </a:lnTo>
                  <a:lnTo>
                    <a:pt x="39486" y="54039"/>
                  </a:lnTo>
                  <a:lnTo>
                    <a:pt x="69628" y="52042"/>
                  </a:lnTo>
                  <a:lnTo>
                    <a:pt x="94410" y="61772"/>
                  </a:lnTo>
                  <a:lnTo>
                    <a:pt x="116420" y="43919"/>
                  </a:lnTo>
                  <a:lnTo>
                    <a:pt x="127740" y="13988"/>
                  </a:lnTo>
                  <a:lnTo>
                    <a:pt x="163580" y="0"/>
                  </a:lnTo>
                  <a:lnTo>
                    <a:pt x="193201" y="1640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71"/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254682" y="3231904"/>
              <a:ext cx="3963580" cy="2550519"/>
            </a:xfrm>
            <a:custGeom>
              <a:avLst/>
              <a:gdLst>
                <a:gd name="connsiteX0" fmla="*/ 1697208 w 3963580"/>
                <a:gd name="connsiteY0" fmla="*/ 2516185 h 2550519"/>
                <a:gd name="connsiteX1" fmla="*/ 1712096 w 3963580"/>
                <a:gd name="connsiteY1" fmla="*/ 2525545 h 2550519"/>
                <a:gd name="connsiteX2" fmla="*/ 1733909 w 3963580"/>
                <a:gd name="connsiteY2" fmla="*/ 2529268 h 2550519"/>
                <a:gd name="connsiteX3" fmla="*/ 1734717 w 3963580"/>
                <a:gd name="connsiteY3" fmla="*/ 2534938 h 2550519"/>
                <a:gd name="connsiteX4" fmla="*/ 1728254 w 3963580"/>
                <a:gd name="connsiteY4" fmla="*/ 2548566 h 2550519"/>
                <a:gd name="connsiteX5" fmla="*/ 1692822 w 3963580"/>
                <a:gd name="connsiteY5" fmla="*/ 2550519 h 2550519"/>
                <a:gd name="connsiteX6" fmla="*/ 1692245 w 3963580"/>
                <a:gd name="connsiteY6" fmla="*/ 2534565 h 2550519"/>
                <a:gd name="connsiteX7" fmla="*/ 1695650 w 3963580"/>
                <a:gd name="connsiteY7" fmla="*/ 2522273 h 2550519"/>
                <a:gd name="connsiteX8" fmla="*/ 3892245 w 3963580"/>
                <a:gd name="connsiteY8" fmla="*/ 1766377 h 2550519"/>
                <a:gd name="connsiteX9" fmla="*/ 3902180 w 3963580"/>
                <a:gd name="connsiteY9" fmla="*/ 1766722 h 2550519"/>
                <a:gd name="connsiteX10" fmla="*/ 3915107 w 3963580"/>
                <a:gd name="connsiteY10" fmla="*/ 1774896 h 2550519"/>
                <a:gd name="connsiteX11" fmla="*/ 3925263 w 3963580"/>
                <a:gd name="connsiteY11" fmla="*/ 1783082 h 2550519"/>
                <a:gd name="connsiteX12" fmla="*/ 3932649 w 3963580"/>
                <a:gd name="connsiteY12" fmla="*/ 1789831 h 2550519"/>
                <a:gd name="connsiteX13" fmla="*/ 3951577 w 3963580"/>
                <a:gd name="connsiteY13" fmla="*/ 1804806 h 2550519"/>
                <a:gd name="connsiteX14" fmla="*/ 3963580 w 3963580"/>
                <a:gd name="connsiteY14" fmla="*/ 1815941 h 2550519"/>
                <a:gd name="connsiteX15" fmla="*/ 3954810 w 3963580"/>
                <a:gd name="connsiteY15" fmla="*/ 1821760 h 2550519"/>
                <a:gd name="connsiteX16" fmla="*/ 3942107 w 3963580"/>
                <a:gd name="connsiteY16" fmla="*/ 1815207 h 2550519"/>
                <a:gd name="connsiteX17" fmla="*/ 3925595 w 3963580"/>
                <a:gd name="connsiteY17" fmla="*/ 1804312 h 2550519"/>
                <a:gd name="connsiteX18" fmla="*/ 3910716 w 3963580"/>
                <a:gd name="connsiteY18" fmla="*/ 1791515 h 2550519"/>
                <a:gd name="connsiteX19" fmla="*/ 3895440 w 3963580"/>
                <a:gd name="connsiteY19" fmla="*/ 1774529 h 2550519"/>
                <a:gd name="connsiteX20" fmla="*/ 322750 w 3963580"/>
                <a:gd name="connsiteY20" fmla="*/ 237592 h 2550519"/>
                <a:gd name="connsiteX21" fmla="*/ 326674 w 3963580"/>
                <a:gd name="connsiteY21" fmla="*/ 261485 h 2550519"/>
                <a:gd name="connsiteX22" fmla="*/ 319051 w 3963580"/>
                <a:gd name="connsiteY22" fmla="*/ 282847 h 2550519"/>
                <a:gd name="connsiteX23" fmla="*/ 308571 w 3963580"/>
                <a:gd name="connsiteY23" fmla="*/ 277231 h 2550519"/>
                <a:gd name="connsiteX24" fmla="*/ 303227 w 3963580"/>
                <a:gd name="connsiteY24" fmla="*/ 258597 h 2550519"/>
                <a:gd name="connsiteX25" fmla="*/ 307885 w 3963580"/>
                <a:gd name="connsiteY25" fmla="*/ 248256 h 2550519"/>
                <a:gd name="connsiteX26" fmla="*/ 164024 w 3963580"/>
                <a:gd name="connsiteY26" fmla="*/ 0 h 2550519"/>
                <a:gd name="connsiteX27" fmla="*/ 167367 w 3963580"/>
                <a:gd name="connsiteY27" fmla="*/ 10719 h 2550519"/>
                <a:gd name="connsiteX28" fmla="*/ 178096 w 3963580"/>
                <a:gd name="connsiteY28" fmla="*/ 11221 h 2550519"/>
                <a:gd name="connsiteX29" fmla="*/ 188828 w 3963580"/>
                <a:gd name="connsiteY29" fmla="*/ 23398 h 2550519"/>
                <a:gd name="connsiteX30" fmla="*/ 204936 w 3963580"/>
                <a:gd name="connsiteY30" fmla="*/ 37629 h 2550519"/>
                <a:gd name="connsiteX31" fmla="*/ 216782 w 3963580"/>
                <a:gd name="connsiteY31" fmla="*/ 35284 h 2550519"/>
                <a:gd name="connsiteX32" fmla="*/ 236976 w 3963580"/>
                <a:gd name="connsiteY32" fmla="*/ 48983 h 2550519"/>
                <a:gd name="connsiteX33" fmla="*/ 242139 w 3963580"/>
                <a:gd name="connsiteY33" fmla="*/ 51583 h 2550519"/>
                <a:gd name="connsiteX34" fmla="*/ 248800 w 3963580"/>
                <a:gd name="connsiteY34" fmla="*/ 50950 h 2550519"/>
                <a:gd name="connsiteX35" fmla="*/ 259693 w 3963580"/>
                <a:gd name="connsiteY35" fmla="*/ 58779 h 2550519"/>
                <a:gd name="connsiteX36" fmla="*/ 292956 w 3963580"/>
                <a:gd name="connsiteY36" fmla="*/ 64272 h 2550519"/>
                <a:gd name="connsiteX37" fmla="*/ 281286 w 3963580"/>
                <a:gd name="connsiteY37" fmla="*/ 84594 h 2550519"/>
                <a:gd name="connsiteX38" fmla="*/ 278356 w 3963580"/>
                <a:gd name="connsiteY38" fmla="*/ 105573 h 2550519"/>
                <a:gd name="connsiteX39" fmla="*/ 272019 w 3963580"/>
                <a:gd name="connsiteY39" fmla="*/ 110578 h 2550519"/>
                <a:gd name="connsiteX40" fmla="*/ 261501 w 3963580"/>
                <a:gd name="connsiteY40" fmla="*/ 107882 h 2550519"/>
                <a:gd name="connsiteX41" fmla="*/ 262244 w 3963580"/>
                <a:gd name="connsiteY41" fmla="*/ 115318 h 2550519"/>
                <a:gd name="connsiteX42" fmla="*/ 245362 w 3963580"/>
                <a:gd name="connsiteY42" fmla="*/ 131691 h 2550519"/>
                <a:gd name="connsiteX43" fmla="*/ 245021 w 3963580"/>
                <a:gd name="connsiteY43" fmla="*/ 144812 h 2550519"/>
                <a:gd name="connsiteX44" fmla="*/ 256043 w 3963580"/>
                <a:gd name="connsiteY44" fmla="*/ 140279 h 2550519"/>
                <a:gd name="connsiteX45" fmla="*/ 263972 w 3963580"/>
                <a:gd name="connsiteY45" fmla="*/ 152948 h 2550519"/>
                <a:gd name="connsiteX46" fmla="*/ 263020 w 3963580"/>
                <a:gd name="connsiteY46" fmla="*/ 161081 h 2550519"/>
                <a:gd name="connsiteX47" fmla="*/ 269813 w 3963580"/>
                <a:gd name="connsiteY47" fmla="*/ 171851 h 2550519"/>
                <a:gd name="connsiteX48" fmla="*/ 261810 w 3963580"/>
                <a:gd name="connsiteY48" fmla="*/ 180557 h 2550519"/>
                <a:gd name="connsiteX49" fmla="*/ 267757 w 3963580"/>
                <a:gd name="connsiteY49" fmla="*/ 202555 h 2550519"/>
                <a:gd name="connsiteX50" fmla="*/ 280268 w 3963580"/>
                <a:gd name="connsiteY50" fmla="*/ 206145 h 2550519"/>
                <a:gd name="connsiteX51" fmla="*/ 277628 w 3963580"/>
                <a:gd name="connsiteY51" fmla="*/ 218395 h 2550519"/>
                <a:gd name="connsiteX52" fmla="*/ 256716 w 3963580"/>
                <a:gd name="connsiteY52" fmla="*/ 234263 h 2550519"/>
                <a:gd name="connsiteX53" fmla="*/ 211191 w 3963580"/>
                <a:gd name="connsiteY53" fmla="*/ 226669 h 2550519"/>
                <a:gd name="connsiteX54" fmla="*/ 177569 w 3963580"/>
                <a:gd name="connsiteY54" fmla="*/ 235767 h 2550519"/>
                <a:gd name="connsiteX55" fmla="*/ 174928 w 3963580"/>
                <a:gd name="connsiteY55" fmla="*/ 252576 h 2550519"/>
                <a:gd name="connsiteX56" fmla="*/ 148171 w 3963580"/>
                <a:gd name="connsiteY56" fmla="*/ 256183 h 2550519"/>
                <a:gd name="connsiteX57" fmla="*/ 122198 w 3963580"/>
                <a:gd name="connsiteY57" fmla="*/ 243580 h 2550519"/>
                <a:gd name="connsiteX58" fmla="*/ 113807 w 3963580"/>
                <a:gd name="connsiteY58" fmla="*/ 249609 h 2550519"/>
                <a:gd name="connsiteX59" fmla="*/ 71315 w 3963580"/>
                <a:gd name="connsiteY59" fmla="*/ 236919 h 2550519"/>
                <a:gd name="connsiteX60" fmla="*/ 62115 w 3963580"/>
                <a:gd name="connsiteY60" fmla="*/ 226019 h 2550519"/>
                <a:gd name="connsiteX61" fmla="*/ 74052 w 3963580"/>
                <a:gd name="connsiteY61" fmla="*/ 209122 h 2550519"/>
                <a:gd name="connsiteX62" fmla="*/ 78447 w 3963580"/>
                <a:gd name="connsiteY62" fmla="*/ 152263 h 2550519"/>
                <a:gd name="connsiteX63" fmla="*/ 54628 w 3963580"/>
                <a:gd name="connsiteY63" fmla="*/ 121837 h 2550519"/>
                <a:gd name="connsiteX64" fmla="*/ 37603 w 3963580"/>
                <a:gd name="connsiteY64" fmla="*/ 107046 h 2550519"/>
                <a:gd name="connsiteX65" fmla="*/ 2327 w 3963580"/>
                <a:gd name="connsiteY65" fmla="*/ 95747 h 2550519"/>
                <a:gd name="connsiteX66" fmla="*/ 0 w 3963580"/>
                <a:gd name="connsiteY66" fmla="*/ 74192 h 2550519"/>
                <a:gd name="connsiteX67" fmla="*/ 29927 w 3963580"/>
                <a:gd name="connsiteY67" fmla="*/ 67728 h 2550519"/>
                <a:gd name="connsiteX68" fmla="*/ 68690 w 3963580"/>
                <a:gd name="connsiteY68" fmla="*/ 75372 h 2550519"/>
                <a:gd name="connsiteX69" fmla="*/ 61373 w 3963580"/>
                <a:gd name="connsiteY69" fmla="*/ 41574 h 2550519"/>
                <a:gd name="connsiteX70" fmla="*/ 83164 w 3963580"/>
                <a:gd name="connsiteY70" fmla="*/ 54434 h 2550519"/>
                <a:gd name="connsiteX71" fmla="*/ 136906 w 3963580"/>
                <a:gd name="connsiteY71" fmla="*/ 31008 h 2550519"/>
                <a:gd name="connsiteX72" fmla="*/ 143836 w 3963580"/>
                <a:gd name="connsiteY72" fmla="*/ 6160 h 255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3963580" h="2550519">
                  <a:moveTo>
                    <a:pt x="1697208" y="2516185"/>
                  </a:moveTo>
                  <a:lnTo>
                    <a:pt x="1712096" y="2525545"/>
                  </a:lnTo>
                  <a:lnTo>
                    <a:pt x="1733909" y="2529268"/>
                  </a:lnTo>
                  <a:lnTo>
                    <a:pt x="1734717" y="2534938"/>
                  </a:lnTo>
                  <a:lnTo>
                    <a:pt x="1728254" y="2548566"/>
                  </a:lnTo>
                  <a:lnTo>
                    <a:pt x="1692822" y="2550519"/>
                  </a:lnTo>
                  <a:lnTo>
                    <a:pt x="1692245" y="2534565"/>
                  </a:lnTo>
                  <a:lnTo>
                    <a:pt x="1695650" y="2522273"/>
                  </a:lnTo>
                  <a:close/>
                  <a:moveTo>
                    <a:pt x="3892245" y="1766377"/>
                  </a:moveTo>
                  <a:lnTo>
                    <a:pt x="3902180" y="1766722"/>
                  </a:lnTo>
                  <a:lnTo>
                    <a:pt x="3915107" y="1774896"/>
                  </a:lnTo>
                  <a:lnTo>
                    <a:pt x="3925263" y="1783082"/>
                  </a:lnTo>
                  <a:lnTo>
                    <a:pt x="3932649" y="1789831"/>
                  </a:lnTo>
                  <a:lnTo>
                    <a:pt x="3951577" y="1804806"/>
                  </a:lnTo>
                  <a:lnTo>
                    <a:pt x="3963580" y="1815941"/>
                  </a:lnTo>
                  <a:lnTo>
                    <a:pt x="3954810" y="1821760"/>
                  </a:lnTo>
                  <a:lnTo>
                    <a:pt x="3942107" y="1815207"/>
                  </a:lnTo>
                  <a:lnTo>
                    <a:pt x="3925595" y="1804312"/>
                  </a:lnTo>
                  <a:lnTo>
                    <a:pt x="3910716" y="1791515"/>
                  </a:lnTo>
                  <a:lnTo>
                    <a:pt x="3895440" y="1774529"/>
                  </a:lnTo>
                  <a:close/>
                  <a:moveTo>
                    <a:pt x="322750" y="237592"/>
                  </a:moveTo>
                  <a:lnTo>
                    <a:pt x="326674" y="261485"/>
                  </a:lnTo>
                  <a:lnTo>
                    <a:pt x="319051" y="282847"/>
                  </a:lnTo>
                  <a:lnTo>
                    <a:pt x="308571" y="277231"/>
                  </a:lnTo>
                  <a:lnTo>
                    <a:pt x="303227" y="258597"/>
                  </a:lnTo>
                  <a:lnTo>
                    <a:pt x="307885" y="248256"/>
                  </a:lnTo>
                  <a:close/>
                  <a:moveTo>
                    <a:pt x="164024" y="0"/>
                  </a:moveTo>
                  <a:lnTo>
                    <a:pt x="167367" y="10719"/>
                  </a:lnTo>
                  <a:lnTo>
                    <a:pt x="178096" y="11221"/>
                  </a:lnTo>
                  <a:lnTo>
                    <a:pt x="188828" y="23398"/>
                  </a:lnTo>
                  <a:lnTo>
                    <a:pt x="204936" y="37629"/>
                  </a:lnTo>
                  <a:lnTo>
                    <a:pt x="216782" y="35284"/>
                  </a:lnTo>
                  <a:lnTo>
                    <a:pt x="236976" y="48983"/>
                  </a:lnTo>
                  <a:lnTo>
                    <a:pt x="242139" y="51583"/>
                  </a:lnTo>
                  <a:lnTo>
                    <a:pt x="248800" y="50950"/>
                  </a:lnTo>
                  <a:lnTo>
                    <a:pt x="259693" y="58779"/>
                  </a:lnTo>
                  <a:lnTo>
                    <a:pt x="292956" y="64272"/>
                  </a:lnTo>
                  <a:lnTo>
                    <a:pt x="281286" y="84594"/>
                  </a:lnTo>
                  <a:lnTo>
                    <a:pt x="278356" y="105573"/>
                  </a:lnTo>
                  <a:lnTo>
                    <a:pt x="272019" y="110578"/>
                  </a:lnTo>
                  <a:lnTo>
                    <a:pt x="261501" y="107882"/>
                  </a:lnTo>
                  <a:lnTo>
                    <a:pt x="262244" y="115318"/>
                  </a:lnTo>
                  <a:lnTo>
                    <a:pt x="245362" y="131691"/>
                  </a:lnTo>
                  <a:lnTo>
                    <a:pt x="245021" y="144812"/>
                  </a:lnTo>
                  <a:lnTo>
                    <a:pt x="256043" y="140279"/>
                  </a:lnTo>
                  <a:lnTo>
                    <a:pt x="263972" y="152948"/>
                  </a:lnTo>
                  <a:lnTo>
                    <a:pt x="263020" y="161081"/>
                  </a:lnTo>
                  <a:lnTo>
                    <a:pt x="269813" y="171851"/>
                  </a:lnTo>
                  <a:lnTo>
                    <a:pt x="261810" y="180557"/>
                  </a:lnTo>
                  <a:lnTo>
                    <a:pt x="267757" y="202555"/>
                  </a:lnTo>
                  <a:lnTo>
                    <a:pt x="280268" y="206145"/>
                  </a:lnTo>
                  <a:lnTo>
                    <a:pt x="277628" y="218395"/>
                  </a:lnTo>
                  <a:lnTo>
                    <a:pt x="256716" y="234263"/>
                  </a:lnTo>
                  <a:lnTo>
                    <a:pt x="211191" y="226669"/>
                  </a:lnTo>
                  <a:lnTo>
                    <a:pt x="177569" y="235767"/>
                  </a:lnTo>
                  <a:lnTo>
                    <a:pt x="174928" y="252576"/>
                  </a:lnTo>
                  <a:lnTo>
                    <a:pt x="148171" y="256183"/>
                  </a:lnTo>
                  <a:lnTo>
                    <a:pt x="122198" y="243580"/>
                  </a:lnTo>
                  <a:lnTo>
                    <a:pt x="113807" y="249609"/>
                  </a:lnTo>
                  <a:lnTo>
                    <a:pt x="71315" y="236919"/>
                  </a:lnTo>
                  <a:lnTo>
                    <a:pt x="62115" y="226019"/>
                  </a:lnTo>
                  <a:lnTo>
                    <a:pt x="74052" y="209122"/>
                  </a:lnTo>
                  <a:lnTo>
                    <a:pt x="78447" y="152263"/>
                  </a:lnTo>
                  <a:lnTo>
                    <a:pt x="54628" y="121837"/>
                  </a:lnTo>
                  <a:lnTo>
                    <a:pt x="37603" y="107046"/>
                  </a:lnTo>
                  <a:lnTo>
                    <a:pt x="2327" y="95747"/>
                  </a:lnTo>
                  <a:lnTo>
                    <a:pt x="0" y="74192"/>
                  </a:lnTo>
                  <a:lnTo>
                    <a:pt x="29927" y="67728"/>
                  </a:lnTo>
                  <a:lnTo>
                    <a:pt x="68690" y="75372"/>
                  </a:lnTo>
                  <a:lnTo>
                    <a:pt x="61373" y="41574"/>
                  </a:lnTo>
                  <a:lnTo>
                    <a:pt x="83164" y="54434"/>
                  </a:lnTo>
                  <a:lnTo>
                    <a:pt x="136906" y="31008"/>
                  </a:lnTo>
                  <a:lnTo>
                    <a:pt x="143836" y="6160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72"/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563768" y="4474253"/>
              <a:ext cx="129898" cy="145608"/>
            </a:xfrm>
            <a:custGeom>
              <a:avLst/>
              <a:gdLst/>
              <a:ahLst/>
              <a:cxnLst/>
              <a:rect l="0" t="0" r="0" b="0"/>
              <a:pathLst>
                <a:path w="129898" h="145608">
                  <a:moveTo>
                    <a:pt x="52992" y="145607"/>
                  </a:moveTo>
                  <a:lnTo>
                    <a:pt x="29272" y="122281"/>
                  </a:lnTo>
                  <a:lnTo>
                    <a:pt x="14017" y="103221"/>
                  </a:lnTo>
                  <a:lnTo>
                    <a:pt x="0" y="79371"/>
                  </a:lnTo>
                  <a:lnTo>
                    <a:pt x="741" y="71701"/>
                  </a:lnTo>
                  <a:lnTo>
                    <a:pt x="5780" y="64321"/>
                  </a:lnTo>
                  <a:lnTo>
                    <a:pt x="11388" y="47516"/>
                  </a:lnTo>
                  <a:lnTo>
                    <a:pt x="16040" y="30401"/>
                  </a:lnTo>
                  <a:lnTo>
                    <a:pt x="23828" y="29067"/>
                  </a:lnTo>
                  <a:lnTo>
                    <a:pt x="57408" y="29303"/>
                  </a:lnTo>
                  <a:lnTo>
                    <a:pt x="57209" y="1518"/>
                  </a:lnTo>
                  <a:lnTo>
                    <a:pt x="68178" y="0"/>
                  </a:lnTo>
                  <a:lnTo>
                    <a:pt x="82206" y="3094"/>
                  </a:lnTo>
                  <a:lnTo>
                    <a:pt x="95870" y="119"/>
                  </a:lnTo>
                  <a:lnTo>
                    <a:pt x="98744" y="1378"/>
                  </a:lnTo>
                  <a:lnTo>
                    <a:pt x="97065" y="11451"/>
                  </a:lnTo>
                  <a:lnTo>
                    <a:pt x="103517" y="23381"/>
                  </a:lnTo>
                  <a:lnTo>
                    <a:pt x="120691" y="21500"/>
                  </a:lnTo>
                  <a:lnTo>
                    <a:pt x="126453" y="26088"/>
                  </a:lnTo>
                  <a:lnTo>
                    <a:pt x="116460" y="52823"/>
                  </a:lnTo>
                  <a:lnTo>
                    <a:pt x="127380" y="66474"/>
                  </a:lnTo>
                  <a:lnTo>
                    <a:pt x="129897" y="84498"/>
                  </a:lnTo>
                  <a:lnTo>
                    <a:pt x="126983" y="99849"/>
                  </a:lnTo>
                  <a:lnTo>
                    <a:pt x="119901" y="110762"/>
                  </a:lnTo>
                  <a:lnTo>
                    <a:pt x="99524" y="109790"/>
                  </a:lnTo>
                  <a:lnTo>
                    <a:pt x="87190" y="98700"/>
                  </a:lnTo>
                  <a:lnTo>
                    <a:pt x="85353" y="108934"/>
                  </a:lnTo>
                  <a:lnTo>
                    <a:pt x="69778" y="111763"/>
                  </a:lnTo>
                  <a:lnTo>
                    <a:pt x="61862" y="117571"/>
                  </a:lnTo>
                  <a:lnTo>
                    <a:pt x="70567" y="13284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73"/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5282955" y="3454260"/>
              <a:ext cx="154260" cy="69175"/>
            </a:xfrm>
            <a:custGeom>
              <a:avLst/>
              <a:gdLst/>
              <a:ahLst/>
              <a:cxnLst/>
              <a:rect l="0" t="0" r="0" b="0"/>
              <a:pathLst>
                <a:path w="154260" h="69175">
                  <a:moveTo>
                    <a:pt x="36911" y="56199"/>
                  </a:moveTo>
                  <a:lnTo>
                    <a:pt x="40352" y="44385"/>
                  </a:lnTo>
                  <a:lnTo>
                    <a:pt x="34589" y="25426"/>
                  </a:lnTo>
                  <a:lnTo>
                    <a:pt x="21247" y="15134"/>
                  </a:lnTo>
                  <a:lnTo>
                    <a:pt x="8457" y="11914"/>
                  </a:lnTo>
                  <a:lnTo>
                    <a:pt x="0" y="3320"/>
                  </a:lnTo>
                  <a:lnTo>
                    <a:pt x="2815" y="0"/>
                  </a:lnTo>
                  <a:lnTo>
                    <a:pt x="22325" y="4804"/>
                  </a:lnTo>
                  <a:lnTo>
                    <a:pt x="56307" y="9345"/>
                  </a:lnTo>
                  <a:lnTo>
                    <a:pt x="87737" y="22756"/>
                  </a:lnTo>
                  <a:lnTo>
                    <a:pt x="91781" y="27938"/>
                  </a:lnTo>
                  <a:lnTo>
                    <a:pt x="105779" y="23561"/>
                  </a:lnTo>
                  <a:lnTo>
                    <a:pt x="127307" y="29392"/>
                  </a:lnTo>
                  <a:lnTo>
                    <a:pt x="134374" y="40795"/>
                  </a:lnTo>
                  <a:lnTo>
                    <a:pt x="148882" y="47217"/>
                  </a:lnTo>
                  <a:lnTo>
                    <a:pt x="142891" y="51030"/>
                  </a:lnTo>
                  <a:lnTo>
                    <a:pt x="154259" y="65951"/>
                  </a:lnTo>
                  <a:lnTo>
                    <a:pt x="151114" y="69174"/>
                  </a:lnTo>
                  <a:lnTo>
                    <a:pt x="138671" y="67541"/>
                  </a:lnTo>
                  <a:lnTo>
                    <a:pt x="121471" y="59624"/>
                  </a:lnTo>
                  <a:lnTo>
                    <a:pt x="115817" y="64123"/>
                  </a:lnTo>
                  <a:lnTo>
                    <a:pt x="83738" y="68413"/>
                  </a:lnTo>
                  <a:lnTo>
                    <a:pt x="61505" y="5488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74"/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285798" y="4270760"/>
              <a:ext cx="99360" cy="148403"/>
            </a:xfrm>
            <a:custGeom>
              <a:avLst/>
              <a:gdLst/>
              <a:ahLst/>
              <a:cxnLst/>
              <a:rect l="0" t="0" r="0" b="0"/>
              <a:pathLst>
                <a:path w="99360" h="148403">
                  <a:moveTo>
                    <a:pt x="99359" y="120201"/>
                  </a:moveTo>
                  <a:lnTo>
                    <a:pt x="63171" y="133754"/>
                  </a:lnTo>
                  <a:lnTo>
                    <a:pt x="50337" y="141691"/>
                  </a:lnTo>
                  <a:lnTo>
                    <a:pt x="29538" y="148402"/>
                  </a:lnTo>
                  <a:lnTo>
                    <a:pt x="8962" y="141831"/>
                  </a:lnTo>
                  <a:lnTo>
                    <a:pt x="10010" y="132699"/>
                  </a:lnTo>
                  <a:lnTo>
                    <a:pt x="0" y="112750"/>
                  </a:lnTo>
                  <a:lnTo>
                    <a:pt x="6019" y="86565"/>
                  </a:lnTo>
                  <a:lnTo>
                    <a:pt x="15746" y="67062"/>
                  </a:lnTo>
                  <a:lnTo>
                    <a:pt x="9622" y="33961"/>
                  </a:lnTo>
                  <a:lnTo>
                    <a:pt x="6474" y="16411"/>
                  </a:lnTo>
                  <a:lnTo>
                    <a:pt x="7016" y="3168"/>
                  </a:lnTo>
                  <a:lnTo>
                    <a:pt x="47112" y="2068"/>
                  </a:lnTo>
                  <a:lnTo>
                    <a:pt x="57309" y="3770"/>
                  </a:lnTo>
                  <a:lnTo>
                    <a:pt x="64762" y="0"/>
                  </a:lnTo>
                  <a:lnTo>
                    <a:pt x="75438" y="1861"/>
                  </a:lnTo>
                  <a:lnTo>
                    <a:pt x="73739" y="9140"/>
                  </a:lnTo>
                  <a:lnTo>
                    <a:pt x="83373" y="21172"/>
                  </a:lnTo>
                  <a:lnTo>
                    <a:pt x="83335" y="38094"/>
                  </a:lnTo>
                  <a:lnTo>
                    <a:pt x="85534" y="56425"/>
                  </a:lnTo>
                  <a:lnTo>
                    <a:pt x="91324" y="64904"/>
                  </a:lnTo>
                  <a:lnTo>
                    <a:pt x="86221" y="85821"/>
                  </a:lnTo>
                  <a:lnTo>
                    <a:pt x="88054" y="97360"/>
                  </a:lnTo>
                  <a:lnTo>
                    <a:pt x="94207" y="11206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75"/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011438" y="4235941"/>
              <a:ext cx="168464" cy="123025"/>
            </a:xfrm>
            <a:custGeom>
              <a:avLst/>
              <a:gdLst/>
              <a:ahLst/>
              <a:cxnLst/>
              <a:rect l="0" t="0" r="0" b="0"/>
              <a:pathLst>
                <a:path w="168464" h="123025">
                  <a:moveTo>
                    <a:pt x="154447" y="114274"/>
                  </a:moveTo>
                  <a:lnTo>
                    <a:pt x="147919" y="113678"/>
                  </a:lnTo>
                  <a:lnTo>
                    <a:pt x="143211" y="123024"/>
                  </a:lnTo>
                  <a:lnTo>
                    <a:pt x="136685" y="122910"/>
                  </a:lnTo>
                  <a:lnTo>
                    <a:pt x="132194" y="117968"/>
                  </a:lnTo>
                  <a:lnTo>
                    <a:pt x="133719" y="108643"/>
                  </a:lnTo>
                  <a:lnTo>
                    <a:pt x="124069" y="94410"/>
                  </a:lnTo>
                  <a:lnTo>
                    <a:pt x="118039" y="97027"/>
                  </a:lnTo>
                  <a:lnTo>
                    <a:pt x="113111" y="97545"/>
                  </a:lnTo>
                  <a:lnTo>
                    <a:pt x="106754" y="98877"/>
                  </a:lnTo>
                  <a:lnTo>
                    <a:pt x="107012" y="90353"/>
                  </a:lnTo>
                  <a:lnTo>
                    <a:pt x="103308" y="84267"/>
                  </a:lnTo>
                  <a:lnTo>
                    <a:pt x="104055" y="77502"/>
                  </a:lnTo>
                  <a:lnTo>
                    <a:pt x="99052" y="67714"/>
                  </a:lnTo>
                  <a:lnTo>
                    <a:pt x="92627" y="59380"/>
                  </a:lnTo>
                  <a:lnTo>
                    <a:pt x="74166" y="59354"/>
                  </a:lnTo>
                  <a:lnTo>
                    <a:pt x="68786" y="63745"/>
                  </a:lnTo>
                  <a:lnTo>
                    <a:pt x="62425" y="64275"/>
                  </a:lnTo>
                  <a:lnTo>
                    <a:pt x="58483" y="69299"/>
                  </a:lnTo>
                  <a:lnTo>
                    <a:pt x="55823" y="75761"/>
                  </a:lnTo>
                  <a:lnTo>
                    <a:pt x="43483" y="85992"/>
                  </a:lnTo>
                  <a:lnTo>
                    <a:pt x="33359" y="72221"/>
                  </a:lnTo>
                  <a:lnTo>
                    <a:pt x="24382" y="63102"/>
                  </a:lnTo>
                  <a:lnTo>
                    <a:pt x="18472" y="60083"/>
                  </a:lnTo>
                  <a:lnTo>
                    <a:pt x="12710" y="55449"/>
                  </a:lnTo>
                  <a:lnTo>
                    <a:pt x="10089" y="45141"/>
                  </a:lnTo>
                  <a:lnTo>
                    <a:pt x="6712" y="39998"/>
                  </a:lnTo>
                  <a:lnTo>
                    <a:pt x="0" y="36172"/>
                  </a:lnTo>
                  <a:lnTo>
                    <a:pt x="10263" y="24780"/>
                  </a:lnTo>
                  <a:lnTo>
                    <a:pt x="17269" y="25214"/>
                  </a:lnTo>
                  <a:lnTo>
                    <a:pt x="23289" y="21288"/>
                  </a:lnTo>
                  <a:lnTo>
                    <a:pt x="28381" y="21251"/>
                  </a:lnTo>
                  <a:lnTo>
                    <a:pt x="32019" y="18150"/>
                  </a:lnTo>
                  <a:lnTo>
                    <a:pt x="30055" y="10392"/>
                  </a:lnTo>
                  <a:lnTo>
                    <a:pt x="32583" y="7944"/>
                  </a:lnTo>
                  <a:lnTo>
                    <a:pt x="33005" y="0"/>
                  </a:lnTo>
                  <a:lnTo>
                    <a:pt x="44146" y="242"/>
                  </a:lnTo>
                  <a:lnTo>
                    <a:pt x="60737" y="5955"/>
                  </a:lnTo>
                  <a:lnTo>
                    <a:pt x="65826" y="5431"/>
                  </a:lnTo>
                  <a:lnTo>
                    <a:pt x="67558" y="2825"/>
                  </a:lnTo>
                  <a:lnTo>
                    <a:pt x="80144" y="4678"/>
                  </a:lnTo>
                  <a:lnTo>
                    <a:pt x="83476" y="3356"/>
                  </a:lnTo>
                  <a:lnTo>
                    <a:pt x="84810" y="11933"/>
                  </a:lnTo>
                  <a:lnTo>
                    <a:pt x="88470" y="11907"/>
                  </a:lnTo>
                  <a:lnTo>
                    <a:pt x="94495" y="8786"/>
                  </a:lnTo>
                  <a:lnTo>
                    <a:pt x="98320" y="9567"/>
                  </a:lnTo>
                  <a:lnTo>
                    <a:pt x="104729" y="15512"/>
                  </a:lnTo>
                  <a:lnTo>
                    <a:pt x="114608" y="17382"/>
                  </a:lnTo>
                  <a:lnTo>
                    <a:pt x="120938" y="12316"/>
                  </a:lnTo>
                  <a:lnTo>
                    <a:pt x="128395" y="9184"/>
                  </a:lnTo>
                  <a:lnTo>
                    <a:pt x="133942" y="5903"/>
                  </a:lnTo>
                  <a:lnTo>
                    <a:pt x="138562" y="6518"/>
                  </a:lnTo>
                  <a:lnTo>
                    <a:pt x="143691" y="11664"/>
                  </a:lnTo>
                  <a:lnTo>
                    <a:pt x="146442" y="18119"/>
                  </a:lnTo>
                  <a:lnTo>
                    <a:pt x="155901" y="27917"/>
                  </a:lnTo>
                  <a:lnTo>
                    <a:pt x="151169" y="33933"/>
                  </a:lnTo>
                  <a:lnTo>
                    <a:pt x="150268" y="41532"/>
                  </a:lnTo>
                  <a:lnTo>
                    <a:pt x="155185" y="39235"/>
                  </a:lnTo>
                  <a:lnTo>
                    <a:pt x="158070" y="41959"/>
                  </a:lnTo>
                  <a:lnTo>
                    <a:pt x="156846" y="48909"/>
                  </a:lnTo>
                  <a:lnTo>
                    <a:pt x="163896" y="55634"/>
                  </a:lnTo>
                  <a:lnTo>
                    <a:pt x="159293" y="57442"/>
                  </a:lnTo>
                  <a:lnTo>
                    <a:pt x="157440" y="65354"/>
                  </a:lnTo>
                  <a:lnTo>
                    <a:pt x="162761" y="74980"/>
                  </a:lnTo>
                  <a:lnTo>
                    <a:pt x="168463" y="93605"/>
                  </a:lnTo>
                  <a:lnTo>
                    <a:pt x="159890" y="96400"/>
                  </a:lnTo>
                  <a:lnTo>
                    <a:pt x="157684" y="99631"/>
                  </a:lnTo>
                  <a:lnTo>
                    <a:pt x="159467" y="104118"/>
                  </a:lnTo>
                  <a:lnTo>
                    <a:pt x="158107" y="11424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76"/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3971939" y="4205641"/>
              <a:ext cx="69170" cy="17536"/>
            </a:xfrm>
            <a:custGeom>
              <a:avLst/>
              <a:gdLst/>
              <a:ahLst/>
              <a:cxnLst/>
              <a:rect l="0" t="0" r="0" b="0"/>
              <a:pathLst>
                <a:path w="69170" h="17536">
                  <a:moveTo>
                    <a:pt x="0" y="17040"/>
                  </a:moveTo>
                  <a:lnTo>
                    <a:pt x="2950" y="6620"/>
                  </a:lnTo>
                  <a:lnTo>
                    <a:pt x="28090" y="5947"/>
                  </a:lnTo>
                  <a:lnTo>
                    <a:pt x="33303" y="379"/>
                  </a:lnTo>
                  <a:lnTo>
                    <a:pt x="40621" y="0"/>
                  </a:lnTo>
                  <a:lnTo>
                    <a:pt x="49731" y="5788"/>
                  </a:lnTo>
                  <a:lnTo>
                    <a:pt x="56895" y="5898"/>
                  </a:lnTo>
                  <a:lnTo>
                    <a:pt x="64505" y="1939"/>
                  </a:lnTo>
                  <a:lnTo>
                    <a:pt x="69169" y="8733"/>
                  </a:lnTo>
                  <a:lnTo>
                    <a:pt x="59180" y="14006"/>
                  </a:lnTo>
                  <a:lnTo>
                    <a:pt x="49150" y="13592"/>
                  </a:lnTo>
                  <a:lnTo>
                    <a:pt x="39249" y="8628"/>
                  </a:lnTo>
                  <a:lnTo>
                    <a:pt x="30693" y="14053"/>
                  </a:lnTo>
                  <a:lnTo>
                    <a:pt x="26557" y="14246"/>
                  </a:lnTo>
                  <a:lnTo>
                    <a:pt x="21011" y="1753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77"/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3975726" y="4234956"/>
              <a:ext cx="68718" cy="37158"/>
            </a:xfrm>
            <a:custGeom>
              <a:avLst/>
              <a:gdLst/>
              <a:ahLst/>
              <a:cxnLst/>
              <a:rect l="0" t="0" r="0" b="0"/>
              <a:pathLst>
                <a:path w="68718" h="37158">
                  <a:moveTo>
                    <a:pt x="35712" y="37157"/>
                  </a:moveTo>
                  <a:lnTo>
                    <a:pt x="23389" y="27387"/>
                  </a:lnTo>
                  <a:lnTo>
                    <a:pt x="13671" y="25841"/>
                  </a:lnTo>
                  <a:lnTo>
                    <a:pt x="8372" y="19246"/>
                  </a:lnTo>
                  <a:lnTo>
                    <a:pt x="8506" y="15684"/>
                  </a:lnTo>
                  <a:lnTo>
                    <a:pt x="1468" y="10715"/>
                  </a:lnTo>
                  <a:lnTo>
                    <a:pt x="0" y="5704"/>
                  </a:lnTo>
                  <a:lnTo>
                    <a:pt x="12228" y="1885"/>
                  </a:lnTo>
                  <a:lnTo>
                    <a:pt x="19872" y="2640"/>
                  </a:lnTo>
                  <a:lnTo>
                    <a:pt x="26060" y="0"/>
                  </a:lnTo>
                  <a:lnTo>
                    <a:pt x="68717" y="985"/>
                  </a:lnTo>
                  <a:lnTo>
                    <a:pt x="68295" y="8929"/>
                  </a:lnTo>
                  <a:lnTo>
                    <a:pt x="65767" y="11377"/>
                  </a:lnTo>
                  <a:lnTo>
                    <a:pt x="67731" y="19135"/>
                  </a:lnTo>
                  <a:lnTo>
                    <a:pt x="64093" y="22236"/>
                  </a:lnTo>
                  <a:lnTo>
                    <a:pt x="59001" y="22273"/>
                  </a:lnTo>
                  <a:lnTo>
                    <a:pt x="52981" y="26199"/>
                  </a:lnTo>
                  <a:lnTo>
                    <a:pt x="45975" y="2576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78"/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575485" y="4475244"/>
              <a:ext cx="45692" cy="29411"/>
            </a:xfrm>
            <a:custGeom>
              <a:avLst/>
              <a:gdLst/>
              <a:ahLst/>
              <a:cxnLst/>
              <a:rect l="0" t="0" r="0" b="0"/>
              <a:pathLst>
                <a:path w="45692" h="29411">
                  <a:moveTo>
                    <a:pt x="4323" y="29410"/>
                  </a:moveTo>
                  <a:lnTo>
                    <a:pt x="0" y="25929"/>
                  </a:lnTo>
                  <a:lnTo>
                    <a:pt x="7930" y="0"/>
                  </a:lnTo>
                  <a:lnTo>
                    <a:pt x="45492" y="527"/>
                  </a:lnTo>
                  <a:lnTo>
                    <a:pt x="45691" y="28312"/>
                  </a:lnTo>
                  <a:lnTo>
                    <a:pt x="12111" y="2807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79"/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825803" y="3502410"/>
              <a:ext cx="148979" cy="185536"/>
            </a:xfrm>
            <a:custGeom>
              <a:avLst/>
              <a:gdLst/>
              <a:ahLst/>
              <a:cxnLst/>
              <a:rect l="l" t="t" r="r" b="b"/>
              <a:pathLst>
                <a:path w="148979" h="185536">
                  <a:moveTo>
                    <a:pt x="81942" y="164966"/>
                  </a:moveTo>
                  <a:lnTo>
                    <a:pt x="94561" y="173811"/>
                  </a:lnTo>
                  <a:lnTo>
                    <a:pt x="112528" y="172317"/>
                  </a:lnTo>
                  <a:lnTo>
                    <a:pt x="129706" y="174178"/>
                  </a:lnTo>
                  <a:lnTo>
                    <a:pt x="129148" y="178736"/>
                  </a:lnTo>
                  <a:lnTo>
                    <a:pt x="141727" y="175594"/>
                  </a:lnTo>
                  <a:lnTo>
                    <a:pt x="138842" y="183314"/>
                  </a:lnTo>
                  <a:lnTo>
                    <a:pt x="105602" y="185536"/>
                  </a:lnTo>
                  <a:lnTo>
                    <a:pt x="105834" y="181222"/>
                  </a:lnTo>
                  <a:lnTo>
                    <a:pt x="77672" y="176118"/>
                  </a:lnTo>
                  <a:close/>
                  <a:moveTo>
                    <a:pt x="137735" y="0"/>
                  </a:moveTo>
                  <a:lnTo>
                    <a:pt x="148979" y="7318"/>
                  </a:lnTo>
                  <a:lnTo>
                    <a:pt x="141833" y="24543"/>
                  </a:lnTo>
                  <a:lnTo>
                    <a:pt x="136347" y="27619"/>
                  </a:lnTo>
                  <a:lnTo>
                    <a:pt x="122284" y="26839"/>
                  </a:lnTo>
                  <a:lnTo>
                    <a:pt x="110239" y="24247"/>
                  </a:lnTo>
                  <a:lnTo>
                    <a:pt x="82285" y="31373"/>
                  </a:lnTo>
                  <a:lnTo>
                    <a:pt x="98285" y="46728"/>
                  </a:lnTo>
                  <a:lnTo>
                    <a:pt x="86559" y="51166"/>
                  </a:lnTo>
                  <a:lnTo>
                    <a:pt x="73702" y="51193"/>
                  </a:lnTo>
                  <a:lnTo>
                    <a:pt x="61491" y="37149"/>
                  </a:lnTo>
                  <a:lnTo>
                    <a:pt x="57159" y="43141"/>
                  </a:lnTo>
                  <a:lnTo>
                    <a:pt x="62317" y="59391"/>
                  </a:lnTo>
                  <a:lnTo>
                    <a:pt x="73865" y="72102"/>
                  </a:lnTo>
                  <a:lnTo>
                    <a:pt x="65164" y="78019"/>
                  </a:lnTo>
                  <a:lnTo>
                    <a:pt x="78019" y="90429"/>
                  </a:lnTo>
                  <a:lnTo>
                    <a:pt x="89445" y="98214"/>
                  </a:lnTo>
                  <a:lnTo>
                    <a:pt x="89791" y="113326"/>
                  </a:lnTo>
                  <a:lnTo>
                    <a:pt x="68440" y="106247"/>
                  </a:lnTo>
                  <a:lnTo>
                    <a:pt x="75248" y="119859"/>
                  </a:lnTo>
                  <a:lnTo>
                    <a:pt x="60591" y="122653"/>
                  </a:lnTo>
                  <a:lnTo>
                    <a:pt x="69345" y="146057"/>
                  </a:lnTo>
                  <a:lnTo>
                    <a:pt x="54013" y="146387"/>
                  </a:lnTo>
                  <a:lnTo>
                    <a:pt x="35086" y="134873"/>
                  </a:lnTo>
                  <a:lnTo>
                    <a:pt x="26430" y="113594"/>
                  </a:lnTo>
                  <a:lnTo>
                    <a:pt x="22390" y="95791"/>
                  </a:lnTo>
                  <a:lnTo>
                    <a:pt x="13388" y="83434"/>
                  </a:lnTo>
                  <a:lnTo>
                    <a:pt x="1562" y="68039"/>
                  </a:lnTo>
                  <a:lnTo>
                    <a:pt x="0" y="60323"/>
                  </a:lnTo>
                  <a:lnTo>
                    <a:pt x="10733" y="47136"/>
                  </a:lnTo>
                  <a:lnTo>
                    <a:pt x="12118" y="38269"/>
                  </a:lnTo>
                  <a:lnTo>
                    <a:pt x="19619" y="34305"/>
                  </a:lnTo>
                  <a:lnTo>
                    <a:pt x="20082" y="27109"/>
                  </a:lnTo>
                  <a:lnTo>
                    <a:pt x="35181" y="24680"/>
                  </a:lnTo>
                  <a:lnTo>
                    <a:pt x="43981" y="18675"/>
                  </a:lnTo>
                  <a:lnTo>
                    <a:pt x="56490" y="19208"/>
                  </a:lnTo>
                  <a:lnTo>
                    <a:pt x="60286" y="14412"/>
                  </a:lnTo>
                  <a:lnTo>
                    <a:pt x="64686" y="13497"/>
                  </a:lnTo>
                  <a:lnTo>
                    <a:pt x="81760" y="14294"/>
                  </a:lnTo>
                  <a:lnTo>
                    <a:pt x="100239" y="6716"/>
                  </a:lnTo>
                  <a:lnTo>
                    <a:pt x="116502" y="16347"/>
                  </a:lnTo>
                  <a:lnTo>
                    <a:pt x="137483" y="1374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80"/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675926" y="3370037"/>
              <a:ext cx="132345" cy="114250"/>
            </a:xfrm>
            <a:custGeom>
              <a:avLst/>
              <a:gdLst/>
              <a:ahLst/>
              <a:cxnLst/>
              <a:rect l="0" t="0" r="0" b="0"/>
              <a:pathLst>
                <a:path w="132345" h="114250">
                  <a:moveTo>
                    <a:pt x="119403" y="17185"/>
                  </a:moveTo>
                  <a:lnTo>
                    <a:pt x="125011" y="28319"/>
                  </a:lnTo>
                  <a:lnTo>
                    <a:pt x="132344" y="36482"/>
                  </a:lnTo>
                  <a:lnTo>
                    <a:pt x="123458" y="47223"/>
                  </a:lnTo>
                  <a:lnTo>
                    <a:pt x="113019" y="40909"/>
                  </a:lnTo>
                  <a:lnTo>
                    <a:pt x="97058" y="41305"/>
                  </a:lnTo>
                  <a:lnTo>
                    <a:pt x="77216" y="36560"/>
                  </a:lnTo>
                  <a:lnTo>
                    <a:pt x="66431" y="37194"/>
                  </a:lnTo>
                  <a:lnTo>
                    <a:pt x="61427" y="43121"/>
                  </a:lnTo>
                  <a:lnTo>
                    <a:pt x="53145" y="36560"/>
                  </a:lnTo>
                  <a:lnTo>
                    <a:pt x="48313" y="48406"/>
                  </a:lnTo>
                  <a:lnTo>
                    <a:pt x="59615" y="61691"/>
                  </a:lnTo>
                  <a:lnTo>
                    <a:pt x="64619" y="70462"/>
                  </a:lnTo>
                  <a:lnTo>
                    <a:pt x="75231" y="80998"/>
                  </a:lnTo>
                  <a:lnTo>
                    <a:pt x="84030" y="87224"/>
                  </a:lnTo>
                  <a:lnTo>
                    <a:pt x="92745" y="98939"/>
                  </a:lnTo>
                  <a:lnTo>
                    <a:pt x="113175" y="109513"/>
                  </a:lnTo>
                  <a:lnTo>
                    <a:pt x="110636" y="114249"/>
                  </a:lnTo>
                  <a:lnTo>
                    <a:pt x="88937" y="103931"/>
                  </a:lnTo>
                  <a:lnTo>
                    <a:pt x="75550" y="93857"/>
                  </a:lnTo>
                  <a:lnTo>
                    <a:pt x="54438" y="85514"/>
                  </a:lnTo>
                  <a:lnTo>
                    <a:pt x="35028" y="64749"/>
                  </a:lnTo>
                  <a:lnTo>
                    <a:pt x="39685" y="62633"/>
                  </a:lnTo>
                  <a:lnTo>
                    <a:pt x="29161" y="50690"/>
                  </a:lnTo>
                  <a:lnTo>
                    <a:pt x="28729" y="41067"/>
                  </a:lnTo>
                  <a:lnTo>
                    <a:pt x="13890" y="36560"/>
                  </a:lnTo>
                  <a:lnTo>
                    <a:pt x="6816" y="48878"/>
                  </a:lnTo>
                  <a:lnTo>
                    <a:pt x="0" y="39329"/>
                  </a:lnTo>
                  <a:lnTo>
                    <a:pt x="518" y="29390"/>
                  </a:lnTo>
                  <a:lnTo>
                    <a:pt x="1341" y="28927"/>
                  </a:lnTo>
                  <a:lnTo>
                    <a:pt x="17427" y="29906"/>
                  </a:lnTo>
                  <a:lnTo>
                    <a:pt x="21655" y="25064"/>
                  </a:lnTo>
                  <a:lnTo>
                    <a:pt x="29506" y="29748"/>
                  </a:lnTo>
                  <a:lnTo>
                    <a:pt x="38564" y="30303"/>
                  </a:lnTo>
                  <a:lnTo>
                    <a:pt x="38478" y="22281"/>
                  </a:lnTo>
                  <a:lnTo>
                    <a:pt x="46501" y="19337"/>
                  </a:lnTo>
                  <a:lnTo>
                    <a:pt x="48745" y="7687"/>
                  </a:lnTo>
                  <a:lnTo>
                    <a:pt x="67121" y="0"/>
                  </a:lnTo>
                  <a:lnTo>
                    <a:pt x="74454" y="3566"/>
                  </a:lnTo>
                  <a:lnTo>
                    <a:pt x="91710" y="15950"/>
                  </a:lnTo>
                  <a:lnTo>
                    <a:pt x="110776" y="2148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81"/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734679" y="3307886"/>
              <a:ext cx="150228" cy="83637"/>
            </a:xfrm>
            <a:custGeom>
              <a:avLst/>
              <a:gdLst/>
              <a:ahLst/>
              <a:cxnLst/>
              <a:rect l="0" t="0" r="0" b="0"/>
              <a:pathLst>
                <a:path w="150228" h="83637">
                  <a:moveTo>
                    <a:pt x="0" y="52029"/>
                  </a:moveTo>
                  <a:lnTo>
                    <a:pt x="7663" y="33237"/>
                  </a:lnTo>
                  <a:lnTo>
                    <a:pt x="3192" y="26881"/>
                  </a:lnTo>
                  <a:lnTo>
                    <a:pt x="16191" y="26824"/>
                  </a:lnTo>
                  <a:lnTo>
                    <a:pt x="17944" y="14798"/>
                  </a:lnTo>
                  <a:lnTo>
                    <a:pt x="29688" y="22339"/>
                  </a:lnTo>
                  <a:lnTo>
                    <a:pt x="38198" y="25544"/>
                  </a:lnTo>
                  <a:lnTo>
                    <a:pt x="57573" y="21943"/>
                  </a:lnTo>
                  <a:lnTo>
                    <a:pt x="59431" y="16029"/>
                  </a:lnTo>
                  <a:lnTo>
                    <a:pt x="68603" y="15156"/>
                  </a:lnTo>
                  <a:lnTo>
                    <a:pt x="79844" y="10574"/>
                  </a:lnTo>
                  <a:lnTo>
                    <a:pt x="82340" y="12462"/>
                  </a:lnTo>
                  <a:lnTo>
                    <a:pt x="93179" y="8773"/>
                  </a:lnTo>
                  <a:lnTo>
                    <a:pt x="98592" y="1808"/>
                  </a:lnTo>
                  <a:lnTo>
                    <a:pt x="106157" y="0"/>
                  </a:lnTo>
                  <a:lnTo>
                    <a:pt x="130877" y="8998"/>
                  </a:lnTo>
                  <a:lnTo>
                    <a:pt x="135802" y="5972"/>
                  </a:lnTo>
                  <a:lnTo>
                    <a:pt x="148618" y="14010"/>
                  </a:lnTo>
                  <a:lnTo>
                    <a:pt x="150227" y="21906"/>
                  </a:lnTo>
                  <a:lnTo>
                    <a:pt x="136129" y="28069"/>
                  </a:lnTo>
                  <a:lnTo>
                    <a:pt x="125205" y="47899"/>
                  </a:lnTo>
                  <a:lnTo>
                    <a:pt x="111250" y="67584"/>
                  </a:lnTo>
                  <a:lnTo>
                    <a:pt x="92744" y="73034"/>
                  </a:lnTo>
                  <a:lnTo>
                    <a:pt x="78337" y="71756"/>
                  </a:lnTo>
                  <a:lnTo>
                    <a:pt x="60650" y="79336"/>
                  </a:lnTo>
                  <a:lnTo>
                    <a:pt x="52023" y="83636"/>
                  </a:lnTo>
                  <a:lnTo>
                    <a:pt x="32957" y="78101"/>
                  </a:lnTo>
                  <a:lnTo>
                    <a:pt x="15701" y="65717"/>
                  </a:lnTo>
                  <a:lnTo>
                    <a:pt x="8368" y="62151"/>
                  </a:lnTo>
                  <a:lnTo>
                    <a:pt x="3883" y="5235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82"/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6560305" y="4401358"/>
              <a:ext cx="1055820" cy="366587"/>
            </a:xfrm>
            <a:custGeom>
              <a:avLst/>
              <a:gdLst/>
              <a:ahLst/>
              <a:cxnLst/>
              <a:rect l="l" t="t" r="r" b="b"/>
              <a:pathLst>
                <a:path w="1055820" h="366587">
                  <a:moveTo>
                    <a:pt x="568002" y="343315"/>
                  </a:moveTo>
                  <a:lnTo>
                    <a:pt x="580130" y="350408"/>
                  </a:lnTo>
                  <a:lnTo>
                    <a:pt x="588204" y="357486"/>
                  </a:lnTo>
                  <a:lnTo>
                    <a:pt x="586821" y="363779"/>
                  </a:lnTo>
                  <a:lnTo>
                    <a:pt x="577112" y="364224"/>
                  </a:lnTo>
                  <a:lnTo>
                    <a:pt x="546477" y="347894"/>
                  </a:lnTo>
                  <a:close/>
                  <a:moveTo>
                    <a:pt x="684993" y="332412"/>
                  </a:moveTo>
                  <a:lnTo>
                    <a:pt x="687332" y="336999"/>
                  </a:lnTo>
                  <a:lnTo>
                    <a:pt x="687760" y="344057"/>
                  </a:lnTo>
                  <a:lnTo>
                    <a:pt x="672696" y="361457"/>
                  </a:lnTo>
                  <a:lnTo>
                    <a:pt x="652938" y="366587"/>
                  </a:lnTo>
                  <a:lnTo>
                    <a:pt x="650168" y="363788"/>
                  </a:lnTo>
                  <a:lnTo>
                    <a:pt x="652246" y="355863"/>
                  </a:lnTo>
                  <a:lnTo>
                    <a:pt x="662172" y="341655"/>
                  </a:lnTo>
                  <a:close/>
                  <a:moveTo>
                    <a:pt x="521829" y="313882"/>
                  </a:moveTo>
                  <a:lnTo>
                    <a:pt x="530153" y="320079"/>
                  </a:lnTo>
                  <a:lnTo>
                    <a:pt x="544414" y="318180"/>
                  </a:lnTo>
                  <a:lnTo>
                    <a:pt x="550140" y="328063"/>
                  </a:lnTo>
                  <a:lnTo>
                    <a:pt x="523454" y="332734"/>
                  </a:lnTo>
                  <a:lnTo>
                    <a:pt x="507465" y="335857"/>
                  </a:lnTo>
                  <a:lnTo>
                    <a:pt x="495057" y="335672"/>
                  </a:lnTo>
                  <a:lnTo>
                    <a:pt x="502988" y="322282"/>
                  </a:lnTo>
                  <a:lnTo>
                    <a:pt x="515644" y="322099"/>
                  </a:lnTo>
                  <a:close/>
                  <a:moveTo>
                    <a:pt x="637324" y="313848"/>
                  </a:moveTo>
                  <a:lnTo>
                    <a:pt x="633941" y="326760"/>
                  </a:lnTo>
                  <a:lnTo>
                    <a:pt x="599260" y="333362"/>
                  </a:lnTo>
                  <a:lnTo>
                    <a:pt x="568558" y="330495"/>
                  </a:lnTo>
                  <a:lnTo>
                    <a:pt x="568477" y="321996"/>
                  </a:lnTo>
                  <a:lnTo>
                    <a:pt x="586809" y="317164"/>
                  </a:lnTo>
                  <a:lnTo>
                    <a:pt x="601272" y="324131"/>
                  </a:lnTo>
                  <a:lnTo>
                    <a:pt x="616638" y="322362"/>
                  </a:lnTo>
                  <a:close/>
                  <a:moveTo>
                    <a:pt x="248338" y="262860"/>
                  </a:moveTo>
                  <a:lnTo>
                    <a:pt x="276345" y="264228"/>
                  </a:lnTo>
                  <a:lnTo>
                    <a:pt x="294974" y="273282"/>
                  </a:lnTo>
                  <a:lnTo>
                    <a:pt x="304548" y="275048"/>
                  </a:lnTo>
                  <a:lnTo>
                    <a:pt x="307702" y="283294"/>
                  </a:lnTo>
                  <a:lnTo>
                    <a:pt x="351923" y="285605"/>
                  </a:lnTo>
                  <a:lnTo>
                    <a:pt x="357009" y="276050"/>
                  </a:lnTo>
                  <a:lnTo>
                    <a:pt x="399833" y="287198"/>
                  </a:lnTo>
                  <a:lnTo>
                    <a:pt x="408234" y="302237"/>
                  </a:lnTo>
                  <a:lnTo>
                    <a:pt x="442861" y="306469"/>
                  </a:lnTo>
                  <a:lnTo>
                    <a:pt x="471174" y="320275"/>
                  </a:lnTo>
                  <a:lnTo>
                    <a:pt x="444837" y="329133"/>
                  </a:lnTo>
                  <a:lnTo>
                    <a:pt x="419451" y="319767"/>
                  </a:lnTo>
                  <a:lnTo>
                    <a:pt x="398560" y="320400"/>
                  </a:lnTo>
                  <a:lnTo>
                    <a:pt x="374609" y="318679"/>
                  </a:lnTo>
                  <a:lnTo>
                    <a:pt x="353006" y="314507"/>
                  </a:lnTo>
                  <a:lnTo>
                    <a:pt x="326265" y="305637"/>
                  </a:lnTo>
                  <a:lnTo>
                    <a:pt x="309322" y="303337"/>
                  </a:lnTo>
                  <a:lnTo>
                    <a:pt x="299722" y="306240"/>
                  </a:lnTo>
                  <a:lnTo>
                    <a:pt x="257627" y="296682"/>
                  </a:lnTo>
                  <a:lnTo>
                    <a:pt x="253622" y="286707"/>
                  </a:lnTo>
                  <a:lnTo>
                    <a:pt x="232499" y="285003"/>
                  </a:lnTo>
                  <a:close/>
                  <a:moveTo>
                    <a:pt x="904993" y="252420"/>
                  </a:moveTo>
                  <a:lnTo>
                    <a:pt x="910241" y="259193"/>
                  </a:lnTo>
                  <a:lnTo>
                    <a:pt x="910186" y="270238"/>
                  </a:lnTo>
                  <a:lnTo>
                    <a:pt x="898310" y="286019"/>
                  </a:lnTo>
                  <a:lnTo>
                    <a:pt x="896063" y="268571"/>
                  </a:lnTo>
                  <a:lnTo>
                    <a:pt x="900161" y="260246"/>
                  </a:lnTo>
                  <a:close/>
                  <a:moveTo>
                    <a:pt x="731896" y="198869"/>
                  </a:moveTo>
                  <a:lnTo>
                    <a:pt x="737634" y="206488"/>
                  </a:lnTo>
                  <a:lnTo>
                    <a:pt x="728994" y="214159"/>
                  </a:lnTo>
                  <a:lnTo>
                    <a:pt x="713041" y="209916"/>
                  </a:lnTo>
                  <a:lnTo>
                    <a:pt x="708546" y="199977"/>
                  </a:lnTo>
                  <a:close/>
                  <a:moveTo>
                    <a:pt x="786610" y="191311"/>
                  </a:moveTo>
                  <a:lnTo>
                    <a:pt x="812009" y="198047"/>
                  </a:lnTo>
                  <a:lnTo>
                    <a:pt x="820400" y="215719"/>
                  </a:lnTo>
                  <a:lnTo>
                    <a:pt x="800911" y="206193"/>
                  </a:lnTo>
                  <a:lnTo>
                    <a:pt x="781630" y="204260"/>
                  </a:lnTo>
                  <a:lnTo>
                    <a:pt x="768599" y="205786"/>
                  </a:lnTo>
                  <a:lnTo>
                    <a:pt x="752630" y="204972"/>
                  </a:lnTo>
                  <a:lnTo>
                    <a:pt x="758100" y="192269"/>
                  </a:lnTo>
                  <a:close/>
                  <a:moveTo>
                    <a:pt x="856069" y="135143"/>
                  </a:moveTo>
                  <a:lnTo>
                    <a:pt x="893127" y="144622"/>
                  </a:lnTo>
                  <a:lnTo>
                    <a:pt x="896769" y="153202"/>
                  </a:lnTo>
                  <a:lnTo>
                    <a:pt x="903215" y="190549"/>
                  </a:lnTo>
                  <a:lnTo>
                    <a:pt x="927105" y="204378"/>
                  </a:lnTo>
                  <a:lnTo>
                    <a:pt x="946396" y="179874"/>
                  </a:lnTo>
                  <a:lnTo>
                    <a:pt x="972882" y="165938"/>
                  </a:lnTo>
                  <a:lnTo>
                    <a:pt x="993402" y="165919"/>
                  </a:lnTo>
                  <a:lnTo>
                    <a:pt x="1013142" y="173969"/>
                  </a:lnTo>
                  <a:lnTo>
                    <a:pt x="1030263" y="182230"/>
                  </a:lnTo>
                  <a:lnTo>
                    <a:pt x="1055043" y="186644"/>
                  </a:lnTo>
                  <a:lnTo>
                    <a:pt x="1055432" y="262005"/>
                  </a:lnTo>
                  <a:lnTo>
                    <a:pt x="1055820" y="337649"/>
                  </a:lnTo>
                  <a:lnTo>
                    <a:pt x="1035266" y="318563"/>
                  </a:lnTo>
                  <a:lnTo>
                    <a:pt x="1011823" y="313890"/>
                  </a:lnTo>
                  <a:lnTo>
                    <a:pt x="1006138" y="320510"/>
                  </a:lnTo>
                  <a:lnTo>
                    <a:pt x="976892" y="321225"/>
                  </a:lnTo>
                  <a:lnTo>
                    <a:pt x="986693" y="302322"/>
                  </a:lnTo>
                  <a:lnTo>
                    <a:pt x="1001225" y="295878"/>
                  </a:lnTo>
                  <a:lnTo>
                    <a:pt x="995207" y="270665"/>
                  </a:lnTo>
                  <a:lnTo>
                    <a:pt x="984125" y="251224"/>
                  </a:lnTo>
                  <a:lnTo>
                    <a:pt x="939377" y="231629"/>
                  </a:lnTo>
                  <a:lnTo>
                    <a:pt x="920342" y="229696"/>
                  </a:lnTo>
                  <a:lnTo>
                    <a:pt x="885678" y="208332"/>
                  </a:lnTo>
                  <a:lnTo>
                    <a:pt x="878865" y="219565"/>
                  </a:lnTo>
                  <a:lnTo>
                    <a:pt x="870007" y="221603"/>
                  </a:lnTo>
                  <a:lnTo>
                    <a:pt x="864767" y="213126"/>
                  </a:lnTo>
                  <a:lnTo>
                    <a:pt x="864694" y="203085"/>
                  </a:lnTo>
                  <a:lnTo>
                    <a:pt x="847060" y="191735"/>
                  </a:lnTo>
                  <a:lnTo>
                    <a:pt x="871920" y="183417"/>
                  </a:lnTo>
                  <a:lnTo>
                    <a:pt x="888383" y="183866"/>
                  </a:lnTo>
                  <a:lnTo>
                    <a:pt x="886448" y="177738"/>
                  </a:lnTo>
                  <a:lnTo>
                    <a:pt x="852659" y="177692"/>
                  </a:lnTo>
                  <a:lnTo>
                    <a:pt x="843514" y="163944"/>
                  </a:lnTo>
                  <a:lnTo>
                    <a:pt x="822892" y="159681"/>
                  </a:lnTo>
                  <a:lnTo>
                    <a:pt x="813122" y="148258"/>
                  </a:lnTo>
                  <a:lnTo>
                    <a:pt x="844237" y="142666"/>
                  </a:lnTo>
                  <a:close/>
                  <a:moveTo>
                    <a:pt x="687239" y="88678"/>
                  </a:moveTo>
                  <a:lnTo>
                    <a:pt x="691268" y="93837"/>
                  </a:lnTo>
                  <a:lnTo>
                    <a:pt x="672721" y="116736"/>
                  </a:lnTo>
                  <a:lnTo>
                    <a:pt x="655374" y="121174"/>
                  </a:lnTo>
                  <a:lnTo>
                    <a:pt x="633158" y="116661"/>
                  </a:lnTo>
                  <a:lnTo>
                    <a:pt x="594695" y="117813"/>
                  </a:lnTo>
                  <a:lnTo>
                    <a:pt x="574528" y="121136"/>
                  </a:lnTo>
                  <a:lnTo>
                    <a:pt x="571246" y="138608"/>
                  </a:lnTo>
                  <a:lnTo>
                    <a:pt x="591906" y="159136"/>
                  </a:lnTo>
                  <a:lnTo>
                    <a:pt x="604369" y="148679"/>
                  </a:lnTo>
                  <a:lnTo>
                    <a:pt x="647412" y="140824"/>
                  </a:lnTo>
                  <a:lnTo>
                    <a:pt x="645515" y="151456"/>
                  </a:lnTo>
                  <a:lnTo>
                    <a:pt x="635458" y="148102"/>
                  </a:lnTo>
                  <a:lnTo>
                    <a:pt x="625436" y="161628"/>
                  </a:lnTo>
                  <a:lnTo>
                    <a:pt x="605117" y="170578"/>
                  </a:lnTo>
                  <a:lnTo>
                    <a:pt x="626961" y="200180"/>
                  </a:lnTo>
                  <a:lnTo>
                    <a:pt x="622744" y="208116"/>
                  </a:lnTo>
                  <a:lnTo>
                    <a:pt x="643497" y="234802"/>
                  </a:lnTo>
                  <a:lnTo>
                    <a:pt x="643297" y="250002"/>
                  </a:lnTo>
                  <a:lnTo>
                    <a:pt x="630976" y="256808"/>
                  </a:lnTo>
                  <a:lnTo>
                    <a:pt x="621925" y="248667"/>
                  </a:lnTo>
                  <a:lnTo>
                    <a:pt x="633078" y="229724"/>
                  </a:lnTo>
                  <a:lnTo>
                    <a:pt x="610426" y="238680"/>
                  </a:lnTo>
                  <a:lnTo>
                    <a:pt x="604683" y="232277"/>
                  </a:lnTo>
                  <a:lnTo>
                    <a:pt x="607678" y="223349"/>
                  </a:lnTo>
                  <a:lnTo>
                    <a:pt x="591034" y="209794"/>
                  </a:lnTo>
                  <a:lnTo>
                    <a:pt x="592748" y="187279"/>
                  </a:lnTo>
                  <a:lnTo>
                    <a:pt x="577353" y="194301"/>
                  </a:lnTo>
                  <a:lnTo>
                    <a:pt x="579306" y="221247"/>
                  </a:lnTo>
                  <a:lnTo>
                    <a:pt x="580244" y="254346"/>
                  </a:lnTo>
                  <a:lnTo>
                    <a:pt x="565607" y="257707"/>
                  </a:lnTo>
                  <a:lnTo>
                    <a:pt x="555689" y="250912"/>
                  </a:lnTo>
                  <a:lnTo>
                    <a:pt x="562307" y="229614"/>
                  </a:lnTo>
                  <a:lnTo>
                    <a:pt x="558734" y="207305"/>
                  </a:lnTo>
                  <a:lnTo>
                    <a:pt x="549028" y="207134"/>
                  </a:lnTo>
                  <a:lnTo>
                    <a:pt x="541859" y="191307"/>
                  </a:lnTo>
                  <a:lnTo>
                    <a:pt x="551397" y="176181"/>
                  </a:lnTo>
                  <a:lnTo>
                    <a:pt x="554685" y="157849"/>
                  </a:lnTo>
                  <a:lnTo>
                    <a:pt x="566286" y="123052"/>
                  </a:lnTo>
                  <a:lnTo>
                    <a:pt x="571127" y="113537"/>
                  </a:lnTo>
                  <a:lnTo>
                    <a:pt x="590749" y="96391"/>
                  </a:lnTo>
                  <a:lnTo>
                    <a:pt x="608777" y="103207"/>
                  </a:lnTo>
                  <a:lnTo>
                    <a:pt x="637879" y="106410"/>
                  </a:lnTo>
                  <a:lnTo>
                    <a:pt x="664422" y="105443"/>
                  </a:lnTo>
                  <a:close/>
                  <a:moveTo>
                    <a:pt x="753403" y="76409"/>
                  </a:moveTo>
                  <a:lnTo>
                    <a:pt x="755060" y="89018"/>
                  </a:lnTo>
                  <a:lnTo>
                    <a:pt x="768688" y="91044"/>
                  </a:lnTo>
                  <a:lnTo>
                    <a:pt x="770851" y="100473"/>
                  </a:lnTo>
                  <a:lnTo>
                    <a:pt x="769644" y="120646"/>
                  </a:lnTo>
                  <a:lnTo>
                    <a:pt x="757737" y="118385"/>
                  </a:lnTo>
                  <a:lnTo>
                    <a:pt x="754226" y="132431"/>
                  </a:lnTo>
                  <a:lnTo>
                    <a:pt x="763736" y="144618"/>
                  </a:lnTo>
                  <a:lnTo>
                    <a:pt x="757272" y="147388"/>
                  </a:lnTo>
                  <a:lnTo>
                    <a:pt x="747957" y="132766"/>
                  </a:lnTo>
                  <a:lnTo>
                    <a:pt x="741103" y="103259"/>
                  </a:lnTo>
                  <a:lnTo>
                    <a:pt x="745743" y="84812"/>
                  </a:lnTo>
                  <a:close/>
                  <a:moveTo>
                    <a:pt x="474868" y="27146"/>
                  </a:moveTo>
                  <a:lnTo>
                    <a:pt x="501406" y="27157"/>
                  </a:lnTo>
                  <a:lnTo>
                    <a:pt x="521414" y="31054"/>
                  </a:lnTo>
                  <a:lnTo>
                    <a:pt x="508285" y="51928"/>
                  </a:lnTo>
                  <a:lnTo>
                    <a:pt x="525253" y="73798"/>
                  </a:lnTo>
                  <a:lnTo>
                    <a:pt x="521267" y="84421"/>
                  </a:lnTo>
                  <a:lnTo>
                    <a:pt x="547145" y="105786"/>
                  </a:lnTo>
                  <a:lnTo>
                    <a:pt x="519795" y="108510"/>
                  </a:lnTo>
                  <a:lnTo>
                    <a:pt x="512096" y="124247"/>
                  </a:lnTo>
                  <a:lnTo>
                    <a:pt x="513096" y="145165"/>
                  </a:lnTo>
                  <a:lnTo>
                    <a:pt x="490899" y="160954"/>
                  </a:lnTo>
                  <a:lnTo>
                    <a:pt x="490293" y="183950"/>
                  </a:lnTo>
                  <a:lnTo>
                    <a:pt x="481390" y="219286"/>
                  </a:lnTo>
                  <a:lnTo>
                    <a:pt x="477992" y="211064"/>
                  </a:lnTo>
                  <a:lnTo>
                    <a:pt x="451769" y="221465"/>
                  </a:lnTo>
                  <a:lnTo>
                    <a:pt x="442624" y="207335"/>
                  </a:lnTo>
                  <a:lnTo>
                    <a:pt x="426167" y="206028"/>
                  </a:lnTo>
                  <a:lnTo>
                    <a:pt x="414656" y="198625"/>
                  </a:lnTo>
                  <a:lnTo>
                    <a:pt x="387214" y="206935"/>
                  </a:lnTo>
                  <a:lnTo>
                    <a:pt x="378792" y="195752"/>
                  </a:lnTo>
                  <a:lnTo>
                    <a:pt x="363672" y="197023"/>
                  </a:lnTo>
                  <a:lnTo>
                    <a:pt x="344643" y="194357"/>
                  </a:lnTo>
                  <a:lnTo>
                    <a:pt x="341113" y="163384"/>
                  </a:lnTo>
                  <a:lnTo>
                    <a:pt x="329595" y="156966"/>
                  </a:lnTo>
                  <a:lnTo>
                    <a:pt x="318514" y="137219"/>
                  </a:lnTo>
                  <a:lnTo>
                    <a:pt x="315300" y="117025"/>
                  </a:lnTo>
                  <a:lnTo>
                    <a:pt x="317989" y="95635"/>
                  </a:lnTo>
                  <a:lnTo>
                    <a:pt x="331703" y="80292"/>
                  </a:lnTo>
                  <a:lnTo>
                    <a:pt x="335557" y="95723"/>
                  </a:lnTo>
                  <a:lnTo>
                    <a:pt x="351341" y="108766"/>
                  </a:lnTo>
                  <a:lnTo>
                    <a:pt x="366232" y="104072"/>
                  </a:lnTo>
                  <a:lnTo>
                    <a:pt x="380968" y="105735"/>
                  </a:lnTo>
                  <a:lnTo>
                    <a:pt x="394419" y="94061"/>
                  </a:lnTo>
                  <a:lnTo>
                    <a:pt x="405488" y="92037"/>
                  </a:lnTo>
                  <a:lnTo>
                    <a:pt x="427325" y="98507"/>
                  </a:lnTo>
                  <a:lnTo>
                    <a:pt x="446149" y="93586"/>
                  </a:lnTo>
                  <a:lnTo>
                    <a:pt x="457983" y="61468"/>
                  </a:lnTo>
                  <a:lnTo>
                    <a:pt x="466871" y="53434"/>
                  </a:lnTo>
                  <a:close/>
                  <a:moveTo>
                    <a:pt x="0" y="0"/>
                  </a:moveTo>
                  <a:lnTo>
                    <a:pt x="14861" y="933"/>
                  </a:lnTo>
                  <a:lnTo>
                    <a:pt x="50593" y="5405"/>
                  </a:lnTo>
                  <a:lnTo>
                    <a:pt x="71005" y="28029"/>
                  </a:lnTo>
                  <a:lnTo>
                    <a:pt x="88857" y="43703"/>
                  </a:lnTo>
                  <a:lnTo>
                    <a:pt x="101586" y="53317"/>
                  </a:lnTo>
                  <a:lnTo>
                    <a:pt x="123455" y="78146"/>
                  </a:lnTo>
                  <a:lnTo>
                    <a:pt x="146920" y="78508"/>
                  </a:lnTo>
                  <a:lnTo>
                    <a:pt x="166315" y="94325"/>
                  </a:lnTo>
                  <a:lnTo>
                    <a:pt x="179671" y="113655"/>
                  </a:lnTo>
                  <a:lnTo>
                    <a:pt x="197249" y="124199"/>
                  </a:lnTo>
                  <a:lnTo>
                    <a:pt x="187999" y="143046"/>
                  </a:lnTo>
                  <a:lnTo>
                    <a:pt x="201229" y="151063"/>
                  </a:lnTo>
                  <a:lnTo>
                    <a:pt x="209521" y="151655"/>
                  </a:lnTo>
                  <a:lnTo>
                    <a:pt x="213433" y="167759"/>
                  </a:lnTo>
                  <a:lnTo>
                    <a:pt x="221475" y="180646"/>
                  </a:lnTo>
                  <a:lnTo>
                    <a:pt x="238423" y="182687"/>
                  </a:lnTo>
                  <a:lnTo>
                    <a:pt x="249651" y="197308"/>
                  </a:lnTo>
                  <a:lnTo>
                    <a:pt x="243855" y="226056"/>
                  </a:lnTo>
                  <a:lnTo>
                    <a:pt x="242936" y="261851"/>
                  </a:lnTo>
                  <a:lnTo>
                    <a:pt x="217377" y="262336"/>
                  </a:lnTo>
                  <a:lnTo>
                    <a:pt x="197938" y="242983"/>
                  </a:lnTo>
                  <a:lnTo>
                    <a:pt x="168301" y="224084"/>
                  </a:lnTo>
                  <a:lnTo>
                    <a:pt x="158419" y="210072"/>
                  </a:lnTo>
                  <a:lnTo>
                    <a:pt x="140944" y="191255"/>
                  </a:lnTo>
                  <a:lnTo>
                    <a:pt x="129481" y="173945"/>
                  </a:lnTo>
                  <a:lnTo>
                    <a:pt x="111926" y="141624"/>
                  </a:lnTo>
                  <a:lnTo>
                    <a:pt x="91654" y="122385"/>
                  </a:lnTo>
                  <a:lnTo>
                    <a:pt x="84874" y="102539"/>
                  </a:lnTo>
                  <a:lnTo>
                    <a:pt x="76364" y="84517"/>
                  </a:lnTo>
                  <a:lnTo>
                    <a:pt x="55549" y="69975"/>
                  </a:lnTo>
                  <a:lnTo>
                    <a:pt x="43485" y="50210"/>
                  </a:lnTo>
                  <a:lnTo>
                    <a:pt x="26106" y="37266"/>
                  </a:lnTo>
                  <a:lnTo>
                    <a:pt x="2027" y="1178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83"/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5934386" y="3672917"/>
              <a:ext cx="674613" cy="670808"/>
            </a:xfrm>
            <a:custGeom>
              <a:avLst/>
              <a:gdLst/>
              <a:ahLst/>
              <a:cxnLst/>
              <a:rect l="0" t="0" r="0" b="0"/>
              <a:pathLst>
                <a:path w="674613" h="670808">
                  <a:moveTo>
                    <a:pt x="222997" y="0"/>
                  </a:moveTo>
                  <a:lnTo>
                    <a:pt x="247807" y="30621"/>
                  </a:lnTo>
                  <a:lnTo>
                    <a:pt x="245471" y="51779"/>
                  </a:lnTo>
                  <a:lnTo>
                    <a:pt x="254654" y="64991"/>
                  </a:lnTo>
                  <a:lnTo>
                    <a:pt x="253898" y="78126"/>
                  </a:lnTo>
                  <a:lnTo>
                    <a:pt x="237331" y="74674"/>
                  </a:lnTo>
                  <a:lnTo>
                    <a:pt x="243805" y="102899"/>
                  </a:lnTo>
                  <a:lnTo>
                    <a:pt x="266483" y="119021"/>
                  </a:lnTo>
                  <a:lnTo>
                    <a:pt x="298565" y="136748"/>
                  </a:lnTo>
                  <a:lnTo>
                    <a:pt x="283919" y="148206"/>
                  </a:lnTo>
                  <a:lnTo>
                    <a:pt x="274956" y="171735"/>
                  </a:lnTo>
                  <a:lnTo>
                    <a:pt x="297318" y="181215"/>
                  </a:lnTo>
                  <a:lnTo>
                    <a:pt x="319080" y="193476"/>
                  </a:lnTo>
                  <a:lnTo>
                    <a:pt x="349185" y="207453"/>
                  </a:lnTo>
                  <a:lnTo>
                    <a:pt x="380827" y="210676"/>
                  </a:lnTo>
                  <a:lnTo>
                    <a:pt x="394140" y="223304"/>
                  </a:lnTo>
                  <a:lnTo>
                    <a:pt x="411974" y="225664"/>
                  </a:lnTo>
                  <a:lnTo>
                    <a:pt x="439744" y="231435"/>
                  </a:lnTo>
                  <a:lnTo>
                    <a:pt x="458966" y="231021"/>
                  </a:lnTo>
                  <a:lnTo>
                    <a:pt x="461611" y="221216"/>
                  </a:lnTo>
                  <a:lnTo>
                    <a:pt x="458571" y="205430"/>
                  </a:lnTo>
                  <a:lnTo>
                    <a:pt x="460356" y="194697"/>
                  </a:lnTo>
                  <a:lnTo>
                    <a:pt x="474434" y="189447"/>
                  </a:lnTo>
                  <a:lnTo>
                    <a:pt x="476371" y="209075"/>
                  </a:lnTo>
                  <a:lnTo>
                    <a:pt x="476865" y="214054"/>
                  </a:lnTo>
                  <a:lnTo>
                    <a:pt x="497844" y="223472"/>
                  </a:lnTo>
                  <a:lnTo>
                    <a:pt x="512357" y="219596"/>
                  </a:lnTo>
                  <a:lnTo>
                    <a:pt x="531845" y="221260"/>
                  </a:lnTo>
                  <a:lnTo>
                    <a:pt x="550680" y="220524"/>
                  </a:lnTo>
                  <a:lnTo>
                    <a:pt x="552301" y="205261"/>
                  </a:lnTo>
                  <a:lnTo>
                    <a:pt x="542905" y="197311"/>
                  </a:lnTo>
                  <a:lnTo>
                    <a:pt x="561520" y="194190"/>
                  </a:lnTo>
                  <a:lnTo>
                    <a:pt x="582530" y="175592"/>
                  </a:lnTo>
                  <a:lnTo>
                    <a:pt x="609136" y="159603"/>
                  </a:lnTo>
                  <a:lnTo>
                    <a:pt x="628499" y="165780"/>
                  </a:lnTo>
                  <a:lnTo>
                    <a:pt x="644953" y="155190"/>
                  </a:lnTo>
                  <a:lnTo>
                    <a:pt x="655778" y="170819"/>
                  </a:lnTo>
                  <a:lnTo>
                    <a:pt x="647981" y="181342"/>
                  </a:lnTo>
                  <a:lnTo>
                    <a:pt x="672870" y="185080"/>
                  </a:lnTo>
                  <a:lnTo>
                    <a:pt x="674612" y="194548"/>
                  </a:lnTo>
                  <a:lnTo>
                    <a:pt x="666520" y="199123"/>
                  </a:lnTo>
                  <a:lnTo>
                    <a:pt x="668413" y="214431"/>
                  </a:lnTo>
                  <a:lnTo>
                    <a:pt x="651917" y="209938"/>
                  </a:lnTo>
                  <a:lnTo>
                    <a:pt x="622035" y="227086"/>
                  </a:lnTo>
                  <a:lnTo>
                    <a:pt x="622736" y="241238"/>
                  </a:lnTo>
                  <a:lnTo>
                    <a:pt x="609997" y="261904"/>
                  </a:lnTo>
                  <a:lnTo>
                    <a:pt x="608829" y="273868"/>
                  </a:lnTo>
                  <a:lnTo>
                    <a:pt x="598536" y="294047"/>
                  </a:lnTo>
                  <a:lnTo>
                    <a:pt x="580495" y="288480"/>
                  </a:lnTo>
                  <a:lnTo>
                    <a:pt x="579599" y="313722"/>
                  </a:lnTo>
                  <a:lnTo>
                    <a:pt x="574381" y="322001"/>
                  </a:lnTo>
                  <a:lnTo>
                    <a:pt x="576824" y="332308"/>
                  </a:lnTo>
                  <a:lnTo>
                    <a:pt x="565435" y="338056"/>
                  </a:lnTo>
                  <a:lnTo>
                    <a:pt x="553278" y="299497"/>
                  </a:lnTo>
                  <a:lnTo>
                    <a:pt x="546904" y="299574"/>
                  </a:lnTo>
                  <a:lnTo>
                    <a:pt x="543131" y="315143"/>
                  </a:lnTo>
                  <a:lnTo>
                    <a:pt x="530493" y="302521"/>
                  </a:lnTo>
                  <a:lnTo>
                    <a:pt x="537621" y="288625"/>
                  </a:lnTo>
                  <a:lnTo>
                    <a:pt x="547947" y="287212"/>
                  </a:lnTo>
                  <a:lnTo>
                    <a:pt x="558590" y="266470"/>
                  </a:lnTo>
                  <a:lnTo>
                    <a:pt x="545281" y="262275"/>
                  </a:lnTo>
                  <a:lnTo>
                    <a:pt x="523874" y="262639"/>
                  </a:lnTo>
                  <a:lnTo>
                    <a:pt x="501911" y="259267"/>
                  </a:lnTo>
                  <a:lnTo>
                    <a:pt x="499874" y="242132"/>
                  </a:lnTo>
                  <a:lnTo>
                    <a:pt x="488855" y="240914"/>
                  </a:lnTo>
                  <a:lnTo>
                    <a:pt x="470573" y="230231"/>
                  </a:lnTo>
                  <a:lnTo>
                    <a:pt x="462418" y="246993"/>
                  </a:lnTo>
                  <a:lnTo>
                    <a:pt x="479079" y="260031"/>
                  </a:lnTo>
                  <a:lnTo>
                    <a:pt x="464648" y="269186"/>
                  </a:lnTo>
                  <a:lnTo>
                    <a:pt x="459524" y="278124"/>
                  </a:lnTo>
                  <a:lnTo>
                    <a:pt x="473733" y="284684"/>
                  </a:lnTo>
                  <a:lnTo>
                    <a:pt x="469804" y="299408"/>
                  </a:lnTo>
                  <a:lnTo>
                    <a:pt x="477804" y="317723"/>
                  </a:lnTo>
                  <a:lnTo>
                    <a:pt x="481396" y="337706"/>
                  </a:lnTo>
                  <a:lnTo>
                    <a:pt x="478091" y="346543"/>
                  </a:lnTo>
                  <a:lnTo>
                    <a:pt x="462389" y="346238"/>
                  </a:lnTo>
                  <a:lnTo>
                    <a:pt x="433933" y="351257"/>
                  </a:lnTo>
                  <a:lnTo>
                    <a:pt x="435259" y="369404"/>
                  </a:lnTo>
                  <a:lnTo>
                    <a:pt x="422937" y="383638"/>
                  </a:lnTo>
                  <a:lnTo>
                    <a:pt x="389719" y="399788"/>
                  </a:lnTo>
                  <a:lnTo>
                    <a:pt x="363883" y="427920"/>
                  </a:lnTo>
                  <a:lnTo>
                    <a:pt x="346530" y="442952"/>
                  </a:lnTo>
                  <a:lnTo>
                    <a:pt x="323530" y="458515"/>
                  </a:lnTo>
                  <a:lnTo>
                    <a:pt x="323494" y="469431"/>
                  </a:lnTo>
                  <a:lnTo>
                    <a:pt x="311987" y="475273"/>
                  </a:lnTo>
                  <a:lnTo>
                    <a:pt x="291196" y="483757"/>
                  </a:lnTo>
                  <a:lnTo>
                    <a:pt x="280414" y="485006"/>
                  </a:lnTo>
                  <a:lnTo>
                    <a:pt x="273493" y="503034"/>
                  </a:lnTo>
                  <a:lnTo>
                    <a:pt x="278299" y="533682"/>
                  </a:lnTo>
                  <a:lnTo>
                    <a:pt x="279523" y="553170"/>
                  </a:lnTo>
                  <a:lnTo>
                    <a:pt x="269742" y="575440"/>
                  </a:lnTo>
                  <a:lnTo>
                    <a:pt x="269637" y="615142"/>
                  </a:lnTo>
                  <a:lnTo>
                    <a:pt x="257692" y="616272"/>
                  </a:lnTo>
                  <a:lnTo>
                    <a:pt x="247185" y="634048"/>
                  </a:lnTo>
                  <a:lnTo>
                    <a:pt x="254211" y="641722"/>
                  </a:lnTo>
                  <a:lnTo>
                    <a:pt x="233165" y="648318"/>
                  </a:lnTo>
                  <a:lnTo>
                    <a:pt x="225391" y="664130"/>
                  </a:lnTo>
                  <a:lnTo>
                    <a:pt x="216129" y="670807"/>
                  </a:lnTo>
                  <a:lnTo>
                    <a:pt x="194271" y="649104"/>
                  </a:lnTo>
                  <a:lnTo>
                    <a:pt x="183586" y="616487"/>
                  </a:lnTo>
                  <a:lnTo>
                    <a:pt x="174732" y="592937"/>
                  </a:lnTo>
                  <a:lnTo>
                    <a:pt x="166644" y="581876"/>
                  </a:lnTo>
                  <a:lnTo>
                    <a:pt x="154381" y="559372"/>
                  </a:lnTo>
                  <a:lnTo>
                    <a:pt x="148654" y="529993"/>
                  </a:lnTo>
                  <a:lnTo>
                    <a:pt x="144664" y="515282"/>
                  </a:lnTo>
                  <a:lnTo>
                    <a:pt x="123667" y="482841"/>
                  </a:lnTo>
                  <a:lnTo>
                    <a:pt x="114104" y="436823"/>
                  </a:lnTo>
                  <a:lnTo>
                    <a:pt x="107202" y="406263"/>
                  </a:lnTo>
                  <a:lnTo>
                    <a:pt x="107284" y="377198"/>
                  </a:lnTo>
                  <a:lnTo>
                    <a:pt x="102808" y="354628"/>
                  </a:lnTo>
                  <a:lnTo>
                    <a:pt x="69216" y="369064"/>
                  </a:lnTo>
                  <a:lnTo>
                    <a:pt x="52947" y="366175"/>
                  </a:lnTo>
                  <a:lnTo>
                    <a:pt x="22794" y="336892"/>
                  </a:lnTo>
                  <a:lnTo>
                    <a:pt x="33892" y="328128"/>
                  </a:lnTo>
                  <a:lnTo>
                    <a:pt x="27075" y="318598"/>
                  </a:lnTo>
                  <a:lnTo>
                    <a:pt x="0" y="297924"/>
                  </a:lnTo>
                  <a:lnTo>
                    <a:pt x="15372" y="281614"/>
                  </a:lnTo>
                  <a:lnTo>
                    <a:pt x="66169" y="281678"/>
                  </a:lnTo>
                  <a:lnTo>
                    <a:pt x="61586" y="260611"/>
                  </a:lnTo>
                  <a:lnTo>
                    <a:pt x="48617" y="248124"/>
                  </a:lnTo>
                  <a:lnTo>
                    <a:pt x="45987" y="229109"/>
                  </a:lnTo>
                  <a:lnTo>
                    <a:pt x="30879" y="217977"/>
                  </a:lnTo>
                  <a:lnTo>
                    <a:pt x="56318" y="191885"/>
                  </a:lnTo>
                  <a:lnTo>
                    <a:pt x="83121" y="193783"/>
                  </a:lnTo>
                  <a:lnTo>
                    <a:pt x="107267" y="167541"/>
                  </a:lnTo>
                  <a:lnTo>
                    <a:pt x="121738" y="141983"/>
                  </a:lnTo>
                  <a:lnTo>
                    <a:pt x="144145" y="116553"/>
                  </a:lnTo>
                  <a:lnTo>
                    <a:pt x="143788" y="98388"/>
                  </a:lnTo>
                  <a:lnTo>
                    <a:pt x="163471" y="83584"/>
                  </a:lnTo>
                  <a:lnTo>
                    <a:pt x="144842" y="70901"/>
                  </a:lnTo>
                  <a:lnTo>
                    <a:pt x="136826" y="53452"/>
                  </a:lnTo>
                  <a:lnTo>
                    <a:pt x="128647" y="30731"/>
                  </a:lnTo>
                  <a:lnTo>
                    <a:pt x="139963" y="19498"/>
                  </a:lnTo>
                  <a:lnTo>
                    <a:pt x="174976" y="25858"/>
                  </a:lnTo>
                  <a:lnTo>
                    <a:pt x="200705" y="21985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84"/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130389" y="3107133"/>
              <a:ext cx="91041" cy="108813"/>
            </a:xfrm>
            <a:custGeom>
              <a:avLst/>
              <a:gdLst/>
              <a:ahLst/>
              <a:cxnLst/>
              <a:rect l="0" t="0" r="0" b="0"/>
              <a:pathLst>
                <a:path w="91041" h="108813">
                  <a:moveTo>
                    <a:pt x="87234" y="40293"/>
                  </a:moveTo>
                  <a:lnTo>
                    <a:pt x="91040" y="62771"/>
                  </a:lnTo>
                  <a:lnTo>
                    <a:pt x="73592" y="90582"/>
                  </a:lnTo>
                  <a:lnTo>
                    <a:pt x="32672" y="108812"/>
                  </a:lnTo>
                  <a:lnTo>
                    <a:pt x="0" y="104161"/>
                  </a:lnTo>
                  <a:lnTo>
                    <a:pt x="18715" y="71791"/>
                  </a:lnTo>
                  <a:lnTo>
                    <a:pt x="6660" y="39857"/>
                  </a:lnTo>
                  <a:lnTo>
                    <a:pt x="38065" y="14968"/>
                  </a:lnTo>
                  <a:lnTo>
                    <a:pt x="55512" y="0"/>
                  </a:lnTo>
                  <a:lnTo>
                    <a:pt x="60270" y="17162"/>
                  </a:lnTo>
                  <a:lnTo>
                    <a:pt x="55512" y="34204"/>
                  </a:lnTo>
                  <a:lnTo>
                    <a:pt x="69787" y="3376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85"/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5378845" y="3560345"/>
              <a:ext cx="443360" cy="376548"/>
            </a:xfrm>
            <a:custGeom>
              <a:avLst/>
              <a:gdLst/>
              <a:ahLst/>
              <a:cxnLst/>
              <a:rect l="0" t="0" r="0" b="0"/>
              <a:pathLst>
                <a:path w="443360" h="376548">
                  <a:moveTo>
                    <a:pt x="226496" y="67542"/>
                  </a:moveTo>
                  <a:lnTo>
                    <a:pt x="246779" y="62392"/>
                  </a:lnTo>
                  <a:lnTo>
                    <a:pt x="263197" y="47133"/>
                  </a:lnTo>
                  <a:lnTo>
                    <a:pt x="278635" y="47908"/>
                  </a:lnTo>
                  <a:lnTo>
                    <a:pt x="288768" y="42922"/>
                  </a:lnTo>
                  <a:lnTo>
                    <a:pt x="305181" y="45390"/>
                  </a:lnTo>
                  <a:lnTo>
                    <a:pt x="330704" y="58932"/>
                  </a:lnTo>
                  <a:lnTo>
                    <a:pt x="349138" y="61845"/>
                  </a:lnTo>
                  <a:lnTo>
                    <a:pt x="375519" y="85350"/>
                  </a:lnTo>
                  <a:lnTo>
                    <a:pt x="392726" y="86296"/>
                  </a:lnTo>
                  <a:lnTo>
                    <a:pt x="394751" y="108475"/>
                  </a:lnTo>
                  <a:lnTo>
                    <a:pt x="385342" y="141055"/>
                  </a:lnTo>
                  <a:lnTo>
                    <a:pt x="379000" y="159945"/>
                  </a:lnTo>
                  <a:lnTo>
                    <a:pt x="389047" y="163766"/>
                  </a:lnTo>
                  <a:lnTo>
                    <a:pt x="379176" y="177902"/>
                  </a:lnTo>
                  <a:lnTo>
                    <a:pt x="386738" y="198416"/>
                  </a:lnTo>
                  <a:lnTo>
                    <a:pt x="388545" y="214651"/>
                  </a:lnTo>
                  <a:lnTo>
                    <a:pt x="406027" y="218950"/>
                  </a:lnTo>
                  <a:lnTo>
                    <a:pt x="407918" y="235323"/>
                  </a:lnTo>
                  <a:lnTo>
                    <a:pt x="386982" y="258271"/>
                  </a:lnTo>
                  <a:lnTo>
                    <a:pt x="398409" y="271525"/>
                  </a:lnTo>
                  <a:lnTo>
                    <a:pt x="407701" y="286693"/>
                  </a:lnTo>
                  <a:lnTo>
                    <a:pt x="429768" y="297701"/>
                  </a:lnTo>
                  <a:lnTo>
                    <a:pt x="430405" y="319667"/>
                  </a:lnTo>
                  <a:lnTo>
                    <a:pt x="441449" y="323692"/>
                  </a:lnTo>
                  <a:lnTo>
                    <a:pt x="443359" y="335124"/>
                  </a:lnTo>
                  <a:lnTo>
                    <a:pt x="410063" y="347913"/>
                  </a:lnTo>
                  <a:lnTo>
                    <a:pt x="401365" y="376547"/>
                  </a:lnTo>
                  <a:lnTo>
                    <a:pt x="357941" y="369122"/>
                  </a:lnTo>
                  <a:lnTo>
                    <a:pt x="332773" y="363463"/>
                  </a:lnTo>
                  <a:lnTo>
                    <a:pt x="306723" y="360260"/>
                  </a:lnTo>
                  <a:lnTo>
                    <a:pt x="296879" y="329925"/>
                  </a:lnTo>
                  <a:lnTo>
                    <a:pt x="285831" y="325524"/>
                  </a:lnTo>
                  <a:lnTo>
                    <a:pt x="268094" y="329961"/>
                  </a:lnTo>
                  <a:lnTo>
                    <a:pt x="244812" y="341959"/>
                  </a:lnTo>
                  <a:lnTo>
                    <a:pt x="216605" y="333739"/>
                  </a:lnTo>
                  <a:lnTo>
                    <a:pt x="193303" y="314640"/>
                  </a:lnTo>
                  <a:lnTo>
                    <a:pt x="171079" y="307540"/>
                  </a:lnTo>
                  <a:lnTo>
                    <a:pt x="155664" y="283804"/>
                  </a:lnTo>
                  <a:lnTo>
                    <a:pt x="138630" y="250223"/>
                  </a:lnTo>
                  <a:lnTo>
                    <a:pt x="126208" y="254319"/>
                  </a:lnTo>
                  <a:lnTo>
                    <a:pt x="111538" y="245939"/>
                  </a:lnTo>
                  <a:lnTo>
                    <a:pt x="102920" y="255809"/>
                  </a:lnTo>
                  <a:lnTo>
                    <a:pt x="90146" y="242510"/>
                  </a:lnTo>
                  <a:lnTo>
                    <a:pt x="89918" y="228990"/>
                  </a:lnTo>
                  <a:lnTo>
                    <a:pt x="82546" y="228997"/>
                  </a:lnTo>
                  <a:lnTo>
                    <a:pt x="86329" y="210538"/>
                  </a:lnTo>
                  <a:lnTo>
                    <a:pt x="74452" y="191074"/>
                  </a:lnTo>
                  <a:lnTo>
                    <a:pt x="46169" y="176973"/>
                  </a:lnTo>
                  <a:lnTo>
                    <a:pt x="30180" y="152394"/>
                  </a:lnTo>
                  <a:lnTo>
                    <a:pt x="35530" y="132089"/>
                  </a:lnTo>
                  <a:lnTo>
                    <a:pt x="47148" y="123072"/>
                  </a:lnTo>
                  <a:lnTo>
                    <a:pt x="45407" y="107757"/>
                  </a:lnTo>
                  <a:lnTo>
                    <a:pt x="30271" y="99861"/>
                  </a:lnTo>
                  <a:lnTo>
                    <a:pt x="15315" y="68299"/>
                  </a:lnTo>
                  <a:lnTo>
                    <a:pt x="2690" y="46933"/>
                  </a:lnTo>
                  <a:lnTo>
                    <a:pt x="7206" y="38636"/>
                  </a:lnTo>
                  <a:lnTo>
                    <a:pt x="0" y="7725"/>
                  </a:lnTo>
                  <a:lnTo>
                    <a:pt x="15807" y="0"/>
                  </a:lnTo>
                  <a:lnTo>
                    <a:pt x="19470" y="10225"/>
                  </a:lnTo>
                  <a:lnTo>
                    <a:pt x="31127" y="22694"/>
                  </a:lnTo>
                  <a:lnTo>
                    <a:pt x="46960" y="26276"/>
                  </a:lnTo>
                  <a:lnTo>
                    <a:pt x="55318" y="25484"/>
                  </a:lnTo>
                  <a:lnTo>
                    <a:pt x="82541" y="5551"/>
                  </a:lnTo>
                  <a:lnTo>
                    <a:pt x="91197" y="3548"/>
                  </a:lnTo>
                  <a:lnTo>
                    <a:pt x="98016" y="11497"/>
                  </a:lnTo>
                  <a:lnTo>
                    <a:pt x="90058" y="24853"/>
                  </a:lnTo>
                  <a:lnTo>
                    <a:pt x="104453" y="38929"/>
                  </a:lnTo>
                  <a:lnTo>
                    <a:pt x="110197" y="37591"/>
                  </a:lnTo>
                  <a:lnTo>
                    <a:pt x="117500" y="57317"/>
                  </a:lnTo>
                  <a:lnTo>
                    <a:pt x="139386" y="62868"/>
                  </a:lnTo>
                  <a:lnTo>
                    <a:pt x="155419" y="76201"/>
                  </a:lnTo>
                  <a:lnTo>
                    <a:pt x="188235" y="80770"/>
                  </a:lnTo>
                  <a:lnTo>
                    <a:pt x="224285" y="7375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86"/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5256118" y="3622928"/>
              <a:ext cx="225648" cy="214079"/>
            </a:xfrm>
            <a:custGeom>
              <a:avLst/>
              <a:gdLst/>
              <a:ahLst/>
              <a:cxnLst/>
              <a:rect l="0" t="0" r="0" b="0"/>
              <a:pathLst>
                <a:path w="225648" h="214079">
                  <a:moveTo>
                    <a:pt x="152998" y="37278"/>
                  </a:moveTo>
                  <a:lnTo>
                    <a:pt x="168134" y="45174"/>
                  </a:lnTo>
                  <a:lnTo>
                    <a:pt x="169875" y="60489"/>
                  </a:lnTo>
                  <a:lnTo>
                    <a:pt x="158257" y="69506"/>
                  </a:lnTo>
                  <a:lnTo>
                    <a:pt x="152907" y="89811"/>
                  </a:lnTo>
                  <a:lnTo>
                    <a:pt x="168896" y="114390"/>
                  </a:lnTo>
                  <a:lnTo>
                    <a:pt x="197179" y="128491"/>
                  </a:lnTo>
                  <a:lnTo>
                    <a:pt x="209056" y="147955"/>
                  </a:lnTo>
                  <a:lnTo>
                    <a:pt x="205273" y="166414"/>
                  </a:lnTo>
                  <a:lnTo>
                    <a:pt x="212645" y="166407"/>
                  </a:lnTo>
                  <a:lnTo>
                    <a:pt x="212873" y="179927"/>
                  </a:lnTo>
                  <a:lnTo>
                    <a:pt x="225647" y="193226"/>
                  </a:lnTo>
                  <a:lnTo>
                    <a:pt x="211949" y="191987"/>
                  </a:lnTo>
                  <a:lnTo>
                    <a:pt x="196439" y="189883"/>
                  </a:lnTo>
                  <a:lnTo>
                    <a:pt x="179499" y="214078"/>
                  </a:lnTo>
                  <a:lnTo>
                    <a:pt x="136583" y="212070"/>
                  </a:lnTo>
                  <a:lnTo>
                    <a:pt x="71501" y="161195"/>
                  </a:lnTo>
                  <a:lnTo>
                    <a:pt x="37109" y="143333"/>
                  </a:lnTo>
                  <a:lnTo>
                    <a:pt x="9305" y="136395"/>
                  </a:lnTo>
                  <a:lnTo>
                    <a:pt x="0" y="105064"/>
                  </a:lnTo>
                  <a:lnTo>
                    <a:pt x="51100" y="78075"/>
                  </a:lnTo>
                  <a:lnTo>
                    <a:pt x="59821" y="46464"/>
                  </a:lnTo>
                  <a:lnTo>
                    <a:pt x="57645" y="27222"/>
                  </a:lnTo>
                  <a:lnTo>
                    <a:pt x="70280" y="20691"/>
                  </a:lnTo>
                  <a:lnTo>
                    <a:pt x="82110" y="4135"/>
                  </a:lnTo>
                  <a:lnTo>
                    <a:pt x="92025" y="0"/>
                  </a:lnTo>
                  <a:lnTo>
                    <a:pt x="118873" y="3434"/>
                  </a:lnTo>
                  <a:lnTo>
                    <a:pt x="126980" y="10203"/>
                  </a:lnTo>
                  <a:lnTo>
                    <a:pt x="138042" y="571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 87"/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3799173" y="2707375"/>
              <a:ext cx="247366" cy="113679"/>
            </a:xfrm>
            <a:custGeom>
              <a:avLst/>
              <a:gdLst/>
              <a:ahLst/>
              <a:cxnLst/>
              <a:rect l="0" t="0" r="0" b="0"/>
              <a:pathLst>
                <a:path w="247366" h="113679">
                  <a:moveTo>
                    <a:pt x="226614" y="2732"/>
                  </a:moveTo>
                  <a:lnTo>
                    <a:pt x="221283" y="27500"/>
                  </a:lnTo>
                  <a:lnTo>
                    <a:pt x="247365" y="53289"/>
                  </a:lnTo>
                  <a:lnTo>
                    <a:pt x="217355" y="81752"/>
                  </a:lnTo>
                  <a:lnTo>
                    <a:pt x="150770" y="107008"/>
                  </a:lnTo>
                  <a:lnTo>
                    <a:pt x="130877" y="113678"/>
                  </a:lnTo>
                  <a:lnTo>
                    <a:pt x="100489" y="108294"/>
                  </a:lnTo>
                  <a:lnTo>
                    <a:pt x="36083" y="96673"/>
                  </a:lnTo>
                  <a:lnTo>
                    <a:pt x="58808" y="80341"/>
                  </a:lnTo>
                  <a:lnTo>
                    <a:pt x="8567" y="62122"/>
                  </a:lnTo>
                  <a:lnTo>
                    <a:pt x="49438" y="54856"/>
                  </a:lnTo>
                  <a:lnTo>
                    <a:pt x="48445" y="43801"/>
                  </a:lnTo>
                  <a:lnTo>
                    <a:pt x="0" y="35002"/>
                  </a:lnTo>
                  <a:lnTo>
                    <a:pt x="15596" y="10164"/>
                  </a:lnTo>
                  <a:lnTo>
                    <a:pt x="50580" y="4480"/>
                  </a:lnTo>
                  <a:lnTo>
                    <a:pt x="86558" y="30414"/>
                  </a:lnTo>
                  <a:lnTo>
                    <a:pt x="121631" y="9624"/>
                  </a:lnTo>
                  <a:lnTo>
                    <a:pt x="150674" y="20446"/>
                  </a:lnTo>
                  <a:lnTo>
                    <a:pt x="188317" y="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88"/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5151624" y="3730608"/>
              <a:ext cx="36263" cy="96277"/>
            </a:xfrm>
            <a:custGeom>
              <a:avLst/>
              <a:gdLst/>
              <a:ahLst/>
              <a:cxnLst/>
              <a:rect l="0" t="0" r="0" b="0"/>
              <a:pathLst>
                <a:path w="36263" h="96277">
                  <a:moveTo>
                    <a:pt x="35909" y="0"/>
                  </a:moveTo>
                  <a:lnTo>
                    <a:pt x="36262" y="10553"/>
                  </a:lnTo>
                  <a:lnTo>
                    <a:pt x="33132" y="14467"/>
                  </a:lnTo>
                  <a:lnTo>
                    <a:pt x="33574" y="14642"/>
                  </a:lnTo>
                  <a:lnTo>
                    <a:pt x="29552" y="22740"/>
                  </a:lnTo>
                  <a:lnTo>
                    <a:pt x="29542" y="38401"/>
                  </a:lnTo>
                  <a:lnTo>
                    <a:pt x="26133" y="45893"/>
                  </a:lnTo>
                  <a:lnTo>
                    <a:pt x="26672" y="55804"/>
                  </a:lnTo>
                  <a:lnTo>
                    <a:pt x="15170" y="96276"/>
                  </a:lnTo>
                  <a:lnTo>
                    <a:pt x="0" y="52767"/>
                  </a:lnTo>
                  <a:lnTo>
                    <a:pt x="6716" y="44369"/>
                  </a:lnTo>
                  <a:lnTo>
                    <a:pt x="5140" y="42921"/>
                  </a:lnTo>
                  <a:lnTo>
                    <a:pt x="11245" y="30971"/>
                  </a:lnTo>
                  <a:lnTo>
                    <a:pt x="15927" y="11602"/>
                  </a:lnTo>
                  <a:lnTo>
                    <a:pt x="19229" y="5080"/>
                  </a:lnTo>
                  <a:lnTo>
                    <a:pt x="19866" y="4812"/>
                  </a:lnTo>
                  <a:lnTo>
                    <a:pt x="27590" y="4861"/>
                  </a:lnTo>
                  <a:lnTo>
                    <a:pt x="29716" y="33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89"/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516493" y="3352254"/>
              <a:ext cx="270767" cy="290991"/>
            </a:xfrm>
            <a:custGeom>
              <a:avLst/>
              <a:gdLst/>
              <a:ahLst/>
              <a:cxnLst/>
              <a:rect l="l" t="t" r="r" b="b"/>
              <a:pathLst>
                <a:path w="270767" h="290991">
                  <a:moveTo>
                    <a:pt x="202445" y="248072"/>
                  </a:moveTo>
                  <a:lnTo>
                    <a:pt x="194133" y="269109"/>
                  </a:lnTo>
                  <a:lnTo>
                    <a:pt x="197587" y="277352"/>
                  </a:lnTo>
                  <a:lnTo>
                    <a:pt x="192742" y="290991"/>
                  </a:lnTo>
                  <a:lnTo>
                    <a:pt x="175089" y="281007"/>
                  </a:lnTo>
                  <a:lnTo>
                    <a:pt x="163352" y="278141"/>
                  </a:lnTo>
                  <a:lnTo>
                    <a:pt x="131134" y="264605"/>
                  </a:lnTo>
                  <a:lnTo>
                    <a:pt x="134365" y="250880"/>
                  </a:lnTo>
                  <a:lnTo>
                    <a:pt x="161376" y="253328"/>
                  </a:lnTo>
                  <a:lnTo>
                    <a:pt x="184923" y="250411"/>
                  </a:lnTo>
                  <a:close/>
                  <a:moveTo>
                    <a:pt x="56785" y="167178"/>
                  </a:moveTo>
                  <a:lnTo>
                    <a:pt x="70634" y="186650"/>
                  </a:lnTo>
                  <a:lnTo>
                    <a:pt x="67392" y="222600"/>
                  </a:lnTo>
                  <a:lnTo>
                    <a:pt x="56896" y="220895"/>
                  </a:lnTo>
                  <a:lnTo>
                    <a:pt x="47481" y="229910"/>
                  </a:lnTo>
                  <a:lnTo>
                    <a:pt x="38741" y="222749"/>
                  </a:lnTo>
                  <a:lnTo>
                    <a:pt x="37817" y="189975"/>
                  </a:lnTo>
                  <a:lnTo>
                    <a:pt x="32548" y="174323"/>
                  </a:lnTo>
                  <a:lnTo>
                    <a:pt x="45243" y="175695"/>
                  </a:lnTo>
                  <a:close/>
                  <a:moveTo>
                    <a:pt x="124719" y="0"/>
                  </a:moveTo>
                  <a:lnTo>
                    <a:pt x="129876" y="10127"/>
                  </a:lnTo>
                  <a:lnTo>
                    <a:pt x="162884" y="17622"/>
                  </a:lnTo>
                  <a:lnTo>
                    <a:pt x="160382" y="31859"/>
                  </a:lnTo>
                  <a:lnTo>
                    <a:pt x="165911" y="44108"/>
                  </a:lnTo>
                  <a:lnTo>
                    <a:pt x="147537" y="39923"/>
                  </a:lnTo>
                  <a:lnTo>
                    <a:pt x="128770" y="50107"/>
                  </a:lnTo>
                  <a:lnTo>
                    <a:pt x="130046" y="64290"/>
                  </a:lnTo>
                  <a:lnTo>
                    <a:pt x="127220" y="72397"/>
                  </a:lnTo>
                  <a:lnTo>
                    <a:pt x="134787" y="86828"/>
                  </a:lnTo>
                  <a:lnTo>
                    <a:pt x="156431" y="101033"/>
                  </a:lnTo>
                  <a:lnTo>
                    <a:pt x="168039" y="124199"/>
                  </a:lnTo>
                  <a:lnTo>
                    <a:pt x="193725" y="146607"/>
                  </a:lnTo>
                  <a:lnTo>
                    <a:pt x="211813" y="146436"/>
                  </a:lnTo>
                  <a:lnTo>
                    <a:pt x="217438" y="152553"/>
                  </a:lnTo>
                  <a:lnTo>
                    <a:pt x="210962" y="158055"/>
                  </a:lnTo>
                  <a:lnTo>
                    <a:pt x="231636" y="168014"/>
                  </a:lnTo>
                  <a:lnTo>
                    <a:pt x="248583" y="176322"/>
                  </a:lnTo>
                  <a:lnTo>
                    <a:pt x="268377" y="190594"/>
                  </a:lnTo>
                  <a:lnTo>
                    <a:pt x="270767" y="195690"/>
                  </a:lnTo>
                  <a:lnTo>
                    <a:pt x="266454" y="205435"/>
                  </a:lnTo>
                  <a:lnTo>
                    <a:pt x="253643" y="192722"/>
                  </a:lnTo>
                  <a:lnTo>
                    <a:pt x="233589" y="188229"/>
                  </a:lnTo>
                  <a:lnTo>
                    <a:pt x="223875" y="205853"/>
                  </a:lnTo>
                  <a:lnTo>
                    <a:pt x="240557" y="215909"/>
                  </a:lnTo>
                  <a:lnTo>
                    <a:pt x="237819" y="230011"/>
                  </a:lnTo>
                  <a:lnTo>
                    <a:pt x="228176" y="231609"/>
                  </a:lnTo>
                  <a:lnTo>
                    <a:pt x="215847" y="254641"/>
                  </a:lnTo>
                  <a:lnTo>
                    <a:pt x="206224" y="256702"/>
                  </a:lnTo>
                  <a:lnTo>
                    <a:pt x="206314" y="248516"/>
                  </a:lnTo>
                  <a:lnTo>
                    <a:pt x="211023" y="234105"/>
                  </a:lnTo>
                  <a:lnTo>
                    <a:pt x="216040" y="228347"/>
                  </a:lnTo>
                  <a:lnTo>
                    <a:pt x="207026" y="212674"/>
                  </a:lnTo>
                  <a:lnTo>
                    <a:pt x="199981" y="198973"/>
                  </a:lnTo>
                  <a:lnTo>
                    <a:pt x="190399" y="195578"/>
                  </a:lnTo>
                  <a:lnTo>
                    <a:pt x="183584" y="183790"/>
                  </a:lnTo>
                  <a:lnTo>
                    <a:pt x="168751" y="178811"/>
                  </a:lnTo>
                  <a:lnTo>
                    <a:pt x="158764" y="167775"/>
                  </a:lnTo>
                  <a:lnTo>
                    <a:pt x="141685" y="165992"/>
                  </a:lnTo>
                  <a:lnTo>
                    <a:pt x="123648" y="153541"/>
                  </a:lnTo>
                  <a:lnTo>
                    <a:pt x="102532" y="135498"/>
                  </a:lnTo>
                  <a:lnTo>
                    <a:pt x="86837" y="119438"/>
                  </a:lnTo>
                  <a:lnTo>
                    <a:pt x="79637" y="91669"/>
                  </a:lnTo>
                  <a:lnTo>
                    <a:pt x="68153" y="88385"/>
                  </a:lnTo>
                  <a:lnTo>
                    <a:pt x="49374" y="79043"/>
                  </a:lnTo>
                  <a:lnTo>
                    <a:pt x="38747" y="82871"/>
                  </a:lnTo>
                  <a:lnTo>
                    <a:pt x="25410" y="95980"/>
                  </a:lnTo>
                  <a:lnTo>
                    <a:pt x="15818" y="98045"/>
                  </a:lnTo>
                  <a:lnTo>
                    <a:pt x="18458" y="85795"/>
                  </a:lnTo>
                  <a:lnTo>
                    <a:pt x="5947" y="82205"/>
                  </a:lnTo>
                  <a:lnTo>
                    <a:pt x="0" y="60207"/>
                  </a:lnTo>
                  <a:lnTo>
                    <a:pt x="8003" y="51501"/>
                  </a:lnTo>
                  <a:lnTo>
                    <a:pt x="1210" y="40731"/>
                  </a:lnTo>
                  <a:lnTo>
                    <a:pt x="2162" y="32598"/>
                  </a:lnTo>
                  <a:lnTo>
                    <a:pt x="12093" y="38765"/>
                  </a:lnTo>
                  <a:lnTo>
                    <a:pt x="23223" y="37398"/>
                  </a:lnTo>
                  <a:lnTo>
                    <a:pt x="36164" y="27621"/>
                  </a:lnTo>
                  <a:lnTo>
                    <a:pt x="40164" y="32194"/>
                  </a:lnTo>
                  <a:lnTo>
                    <a:pt x="51160" y="31278"/>
                  </a:lnTo>
                  <a:lnTo>
                    <a:pt x="56159" y="19624"/>
                  </a:lnTo>
                  <a:lnTo>
                    <a:pt x="73239" y="23250"/>
                  </a:lnTo>
                  <a:lnTo>
                    <a:pt x="83408" y="18367"/>
                  </a:lnTo>
                  <a:lnTo>
                    <a:pt x="85239" y="6463"/>
                  </a:lnTo>
                  <a:lnTo>
                    <a:pt x="99224" y="10598"/>
                  </a:lnTo>
                  <a:lnTo>
                    <a:pt x="101908" y="5065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 90"/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5166794" y="3727992"/>
              <a:ext cx="98630" cy="106540"/>
            </a:xfrm>
            <a:custGeom>
              <a:avLst/>
              <a:gdLst/>
              <a:ahLst/>
              <a:cxnLst/>
              <a:rect l="0" t="0" r="0" b="0"/>
              <a:pathLst>
                <a:path w="98630" h="106540">
                  <a:moveTo>
                    <a:pt x="14382" y="25356"/>
                  </a:moveTo>
                  <a:lnTo>
                    <a:pt x="18404" y="17258"/>
                  </a:lnTo>
                  <a:lnTo>
                    <a:pt x="44121" y="27436"/>
                  </a:lnTo>
                  <a:lnTo>
                    <a:pt x="89324" y="0"/>
                  </a:lnTo>
                  <a:lnTo>
                    <a:pt x="98629" y="31331"/>
                  </a:lnTo>
                  <a:lnTo>
                    <a:pt x="94230" y="35193"/>
                  </a:lnTo>
                  <a:lnTo>
                    <a:pt x="48002" y="48016"/>
                  </a:lnTo>
                  <a:lnTo>
                    <a:pt x="71008" y="73443"/>
                  </a:lnTo>
                  <a:lnTo>
                    <a:pt x="63374" y="77745"/>
                  </a:lnTo>
                  <a:lnTo>
                    <a:pt x="59575" y="86216"/>
                  </a:lnTo>
                  <a:lnTo>
                    <a:pt x="41962" y="89714"/>
                  </a:lnTo>
                  <a:lnTo>
                    <a:pt x="36438" y="98793"/>
                  </a:lnTo>
                  <a:lnTo>
                    <a:pt x="26460" y="106539"/>
                  </a:lnTo>
                  <a:lnTo>
                    <a:pt x="771" y="102537"/>
                  </a:lnTo>
                  <a:lnTo>
                    <a:pt x="0" y="98892"/>
                  </a:lnTo>
                  <a:lnTo>
                    <a:pt x="11502" y="58420"/>
                  </a:lnTo>
                  <a:lnTo>
                    <a:pt x="10963" y="48509"/>
                  </a:lnTo>
                  <a:lnTo>
                    <a:pt x="14372" y="4101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 91"/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7347779" y="3397496"/>
              <a:ext cx="372432" cy="390709"/>
            </a:xfrm>
            <a:custGeom>
              <a:avLst/>
              <a:gdLst/>
              <a:ahLst/>
              <a:cxnLst/>
              <a:rect l="l" t="t" r="r" b="b"/>
              <a:pathLst>
                <a:path w="372432" h="390709">
                  <a:moveTo>
                    <a:pt x="103771" y="304924"/>
                  </a:moveTo>
                  <a:lnTo>
                    <a:pt x="120721" y="310532"/>
                  </a:lnTo>
                  <a:lnTo>
                    <a:pt x="123675" y="319430"/>
                  </a:lnTo>
                  <a:lnTo>
                    <a:pt x="110680" y="335080"/>
                  </a:lnTo>
                  <a:lnTo>
                    <a:pt x="101206" y="326792"/>
                  </a:lnTo>
                  <a:lnTo>
                    <a:pt x="89371" y="332798"/>
                  </a:lnTo>
                  <a:lnTo>
                    <a:pt x="83245" y="347873"/>
                  </a:lnTo>
                  <a:lnTo>
                    <a:pt x="68201" y="340541"/>
                  </a:lnTo>
                  <a:lnTo>
                    <a:pt x="68387" y="328300"/>
                  </a:lnTo>
                  <a:lnTo>
                    <a:pt x="81156" y="312842"/>
                  </a:lnTo>
                  <a:lnTo>
                    <a:pt x="94281" y="315844"/>
                  </a:lnTo>
                  <a:close/>
                  <a:moveTo>
                    <a:pt x="276081" y="117295"/>
                  </a:moveTo>
                  <a:lnTo>
                    <a:pt x="288667" y="155275"/>
                  </a:lnTo>
                  <a:lnTo>
                    <a:pt x="287983" y="177264"/>
                  </a:lnTo>
                  <a:lnTo>
                    <a:pt x="266629" y="204362"/>
                  </a:lnTo>
                  <a:lnTo>
                    <a:pt x="267019" y="231902"/>
                  </a:lnTo>
                  <a:lnTo>
                    <a:pt x="258325" y="253046"/>
                  </a:lnTo>
                  <a:lnTo>
                    <a:pt x="262349" y="266255"/>
                  </a:lnTo>
                  <a:lnTo>
                    <a:pt x="250328" y="284747"/>
                  </a:lnTo>
                  <a:lnTo>
                    <a:pt x="220833" y="297039"/>
                  </a:lnTo>
                  <a:lnTo>
                    <a:pt x="180256" y="298638"/>
                  </a:lnTo>
                  <a:lnTo>
                    <a:pt x="147372" y="328270"/>
                  </a:lnTo>
                  <a:lnTo>
                    <a:pt x="131860" y="318322"/>
                  </a:lnTo>
                  <a:lnTo>
                    <a:pt x="130901" y="298892"/>
                  </a:lnTo>
                  <a:lnTo>
                    <a:pt x="90758" y="304637"/>
                  </a:lnTo>
                  <a:lnTo>
                    <a:pt x="63438" y="316873"/>
                  </a:lnTo>
                  <a:lnTo>
                    <a:pt x="36417" y="317371"/>
                  </a:lnTo>
                  <a:lnTo>
                    <a:pt x="59821" y="336401"/>
                  </a:lnTo>
                  <a:lnTo>
                    <a:pt x="44418" y="379993"/>
                  </a:lnTo>
                  <a:lnTo>
                    <a:pt x="29497" y="390709"/>
                  </a:lnTo>
                  <a:lnTo>
                    <a:pt x="18327" y="380812"/>
                  </a:lnTo>
                  <a:lnTo>
                    <a:pt x="23988" y="357764"/>
                  </a:lnTo>
                  <a:lnTo>
                    <a:pt x="9377" y="350297"/>
                  </a:lnTo>
                  <a:lnTo>
                    <a:pt x="0" y="332631"/>
                  </a:lnTo>
                  <a:lnTo>
                    <a:pt x="21824" y="324666"/>
                  </a:lnTo>
                  <a:lnTo>
                    <a:pt x="33931" y="308362"/>
                  </a:lnTo>
                  <a:lnTo>
                    <a:pt x="57147" y="294897"/>
                  </a:lnTo>
                  <a:lnTo>
                    <a:pt x="74077" y="277011"/>
                  </a:lnTo>
                  <a:lnTo>
                    <a:pt x="120026" y="269181"/>
                  </a:lnTo>
                  <a:lnTo>
                    <a:pt x="144707" y="274552"/>
                  </a:lnTo>
                  <a:lnTo>
                    <a:pt x="168858" y="227569"/>
                  </a:lnTo>
                  <a:lnTo>
                    <a:pt x="184249" y="240255"/>
                  </a:lnTo>
                  <a:lnTo>
                    <a:pt x="218112" y="213635"/>
                  </a:lnTo>
                  <a:lnTo>
                    <a:pt x="231241" y="203237"/>
                  </a:lnTo>
                  <a:lnTo>
                    <a:pt x="245746" y="170285"/>
                  </a:lnTo>
                  <a:lnTo>
                    <a:pt x="241789" y="139676"/>
                  </a:lnTo>
                  <a:lnTo>
                    <a:pt x="251540" y="122348"/>
                  </a:lnTo>
                  <a:close/>
                  <a:moveTo>
                    <a:pt x="289900" y="0"/>
                  </a:moveTo>
                  <a:lnTo>
                    <a:pt x="317027" y="29715"/>
                  </a:lnTo>
                  <a:lnTo>
                    <a:pt x="334738" y="39246"/>
                  </a:lnTo>
                  <a:lnTo>
                    <a:pt x="350972" y="45273"/>
                  </a:lnTo>
                  <a:lnTo>
                    <a:pt x="367300" y="33279"/>
                  </a:lnTo>
                  <a:lnTo>
                    <a:pt x="372432" y="64938"/>
                  </a:lnTo>
                  <a:lnTo>
                    <a:pt x="338189" y="72605"/>
                  </a:lnTo>
                  <a:lnTo>
                    <a:pt x="317973" y="100254"/>
                  </a:lnTo>
                  <a:lnTo>
                    <a:pt x="281679" y="81251"/>
                  </a:lnTo>
                  <a:lnTo>
                    <a:pt x="269117" y="111612"/>
                  </a:lnTo>
                  <a:lnTo>
                    <a:pt x="243445" y="112027"/>
                  </a:lnTo>
                  <a:lnTo>
                    <a:pt x="240270" y="84457"/>
                  </a:lnTo>
                  <a:lnTo>
                    <a:pt x="251685" y="62941"/>
                  </a:lnTo>
                  <a:lnTo>
                    <a:pt x="276348" y="61381"/>
                  </a:lnTo>
                  <a:lnTo>
                    <a:pt x="283074" y="2227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 92"/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5433257" y="3098966"/>
              <a:ext cx="943933" cy="435498"/>
            </a:xfrm>
            <a:custGeom>
              <a:avLst/>
              <a:gdLst/>
              <a:ahLst/>
              <a:cxnLst/>
              <a:rect l="0" t="0" r="0" b="0"/>
              <a:pathLst>
                <a:path w="943933" h="435498">
                  <a:moveTo>
                    <a:pt x="565431" y="391267"/>
                  </a:moveTo>
                  <a:lnTo>
                    <a:pt x="552196" y="396398"/>
                  </a:lnTo>
                  <a:lnTo>
                    <a:pt x="521751" y="415668"/>
                  </a:lnTo>
                  <a:lnTo>
                    <a:pt x="511652" y="435323"/>
                  </a:lnTo>
                  <a:lnTo>
                    <a:pt x="503051" y="435497"/>
                  </a:lnTo>
                  <a:lnTo>
                    <a:pt x="496726" y="422501"/>
                  </a:lnTo>
                  <a:lnTo>
                    <a:pt x="467369" y="421609"/>
                  </a:lnTo>
                  <a:lnTo>
                    <a:pt x="462674" y="398995"/>
                  </a:lnTo>
                  <a:lnTo>
                    <a:pt x="451427" y="398800"/>
                  </a:lnTo>
                  <a:lnTo>
                    <a:pt x="453149" y="370874"/>
                  </a:lnTo>
                  <a:lnTo>
                    <a:pt x="425515" y="350369"/>
                  </a:lnTo>
                  <a:lnTo>
                    <a:pt x="385928" y="352566"/>
                  </a:lnTo>
                  <a:lnTo>
                    <a:pt x="358863" y="356662"/>
                  </a:lnTo>
                  <a:lnTo>
                    <a:pt x="336820" y="331212"/>
                  </a:lnTo>
                  <a:lnTo>
                    <a:pt x="317930" y="320464"/>
                  </a:lnTo>
                  <a:lnTo>
                    <a:pt x="282153" y="300007"/>
                  </a:lnTo>
                  <a:lnTo>
                    <a:pt x="277839" y="297517"/>
                  </a:lnTo>
                  <a:lnTo>
                    <a:pt x="218420" y="314428"/>
                  </a:lnTo>
                  <a:lnTo>
                    <a:pt x="219326" y="417751"/>
                  </a:lnTo>
                  <a:lnTo>
                    <a:pt x="207486" y="419094"/>
                  </a:lnTo>
                  <a:lnTo>
                    <a:pt x="191331" y="397433"/>
                  </a:lnTo>
                  <a:lnTo>
                    <a:pt x="175728" y="389656"/>
                  </a:lnTo>
                  <a:lnTo>
                    <a:pt x="149526" y="395435"/>
                  </a:lnTo>
                  <a:lnTo>
                    <a:pt x="139328" y="404651"/>
                  </a:lnTo>
                  <a:lnTo>
                    <a:pt x="138032" y="397900"/>
                  </a:lnTo>
                  <a:lnTo>
                    <a:pt x="143706" y="386325"/>
                  </a:lnTo>
                  <a:lnTo>
                    <a:pt x="139304" y="376614"/>
                  </a:lnTo>
                  <a:lnTo>
                    <a:pt x="112551" y="367086"/>
                  </a:lnTo>
                  <a:lnTo>
                    <a:pt x="102138" y="341822"/>
                  </a:lnTo>
                  <a:lnTo>
                    <a:pt x="89392" y="334664"/>
                  </a:lnTo>
                  <a:lnTo>
                    <a:pt x="88619" y="325420"/>
                  </a:lnTo>
                  <a:lnTo>
                    <a:pt x="111075" y="328117"/>
                  </a:lnTo>
                  <a:lnTo>
                    <a:pt x="111962" y="307282"/>
                  </a:lnTo>
                  <a:lnTo>
                    <a:pt x="131593" y="302633"/>
                  </a:lnTo>
                  <a:lnTo>
                    <a:pt x="151756" y="306909"/>
                  </a:lnTo>
                  <a:lnTo>
                    <a:pt x="155911" y="278858"/>
                  </a:lnTo>
                  <a:lnTo>
                    <a:pt x="151799" y="260930"/>
                  </a:lnTo>
                  <a:lnTo>
                    <a:pt x="128699" y="262337"/>
                  </a:lnTo>
                  <a:lnTo>
                    <a:pt x="109077" y="255232"/>
                  </a:lnTo>
                  <a:lnTo>
                    <a:pt x="82351" y="268019"/>
                  </a:lnTo>
                  <a:lnTo>
                    <a:pt x="60816" y="274095"/>
                  </a:lnTo>
                  <a:lnTo>
                    <a:pt x="49093" y="269410"/>
                  </a:lnTo>
                  <a:lnTo>
                    <a:pt x="51435" y="254447"/>
                  </a:lnTo>
                  <a:lnTo>
                    <a:pt x="36721" y="234895"/>
                  </a:lnTo>
                  <a:lnTo>
                    <a:pt x="19593" y="235715"/>
                  </a:lnTo>
                  <a:lnTo>
                    <a:pt x="0" y="215724"/>
                  </a:lnTo>
                  <a:lnTo>
                    <a:pt x="13324" y="193207"/>
                  </a:lnTo>
                  <a:lnTo>
                    <a:pt x="6583" y="187114"/>
                  </a:lnTo>
                  <a:lnTo>
                    <a:pt x="25000" y="154044"/>
                  </a:lnTo>
                  <a:lnTo>
                    <a:pt x="48737" y="171553"/>
                  </a:lnTo>
                  <a:lnTo>
                    <a:pt x="51612" y="149482"/>
                  </a:lnTo>
                  <a:lnTo>
                    <a:pt x="99261" y="116257"/>
                  </a:lnTo>
                  <a:lnTo>
                    <a:pt x="135317" y="115461"/>
                  </a:lnTo>
                  <a:lnTo>
                    <a:pt x="186195" y="136670"/>
                  </a:lnTo>
                  <a:lnTo>
                    <a:pt x="213526" y="148979"/>
                  </a:lnTo>
                  <a:lnTo>
                    <a:pt x="238018" y="136142"/>
                  </a:lnTo>
                  <a:lnTo>
                    <a:pt x="274611" y="135529"/>
                  </a:lnTo>
                  <a:lnTo>
                    <a:pt x="304134" y="151293"/>
                  </a:lnTo>
                  <a:lnTo>
                    <a:pt x="310840" y="142278"/>
                  </a:lnTo>
                  <a:lnTo>
                    <a:pt x="343262" y="143590"/>
                  </a:lnTo>
                  <a:lnTo>
                    <a:pt x="349046" y="129143"/>
                  </a:lnTo>
                  <a:lnTo>
                    <a:pt x="311641" y="108013"/>
                  </a:lnTo>
                  <a:lnTo>
                    <a:pt x="333795" y="92938"/>
                  </a:lnTo>
                  <a:lnTo>
                    <a:pt x="329472" y="84467"/>
                  </a:lnTo>
                  <a:lnTo>
                    <a:pt x="351631" y="76355"/>
                  </a:lnTo>
                  <a:lnTo>
                    <a:pt x="334967" y="54855"/>
                  </a:lnTo>
                  <a:lnTo>
                    <a:pt x="345551" y="44072"/>
                  </a:lnTo>
                  <a:lnTo>
                    <a:pt x="431926" y="33027"/>
                  </a:lnTo>
                  <a:lnTo>
                    <a:pt x="443198" y="25155"/>
                  </a:lnTo>
                  <a:lnTo>
                    <a:pt x="500956" y="13345"/>
                  </a:lnTo>
                  <a:lnTo>
                    <a:pt x="521709" y="0"/>
                  </a:lnTo>
                  <a:lnTo>
                    <a:pt x="563190" y="6942"/>
                  </a:lnTo>
                  <a:lnTo>
                    <a:pt x="570459" y="40046"/>
                  </a:lnTo>
                  <a:lnTo>
                    <a:pt x="594557" y="32314"/>
                  </a:lnTo>
                  <a:lnTo>
                    <a:pt x="624204" y="43142"/>
                  </a:lnTo>
                  <a:lnTo>
                    <a:pt x="622292" y="60371"/>
                  </a:lnTo>
                  <a:lnTo>
                    <a:pt x="644432" y="58576"/>
                  </a:lnTo>
                  <a:lnTo>
                    <a:pt x="702283" y="28687"/>
                  </a:lnTo>
                  <a:lnTo>
                    <a:pt x="693836" y="38659"/>
                  </a:lnTo>
                  <a:lnTo>
                    <a:pt x="723284" y="63056"/>
                  </a:lnTo>
                  <a:lnTo>
                    <a:pt x="774865" y="141591"/>
                  </a:lnTo>
                  <a:lnTo>
                    <a:pt x="787165" y="125601"/>
                  </a:lnTo>
                  <a:lnTo>
                    <a:pt x="818963" y="143191"/>
                  </a:lnTo>
                  <a:lnTo>
                    <a:pt x="852133" y="135360"/>
                  </a:lnTo>
                  <a:lnTo>
                    <a:pt x="864877" y="140845"/>
                  </a:lnTo>
                  <a:lnTo>
                    <a:pt x="875986" y="158381"/>
                  </a:lnTo>
                  <a:lnTo>
                    <a:pt x="892125" y="164245"/>
                  </a:lnTo>
                  <a:lnTo>
                    <a:pt x="901952" y="177020"/>
                  </a:lnTo>
                  <a:lnTo>
                    <a:pt x="931684" y="172999"/>
                  </a:lnTo>
                  <a:lnTo>
                    <a:pt x="943932" y="191328"/>
                  </a:lnTo>
                  <a:lnTo>
                    <a:pt x="926362" y="211134"/>
                  </a:lnTo>
                  <a:lnTo>
                    <a:pt x="907191" y="213901"/>
                  </a:lnTo>
                  <a:lnTo>
                    <a:pt x="906088" y="243422"/>
                  </a:lnTo>
                  <a:lnTo>
                    <a:pt x="893250" y="256623"/>
                  </a:lnTo>
                  <a:lnTo>
                    <a:pt x="847459" y="247019"/>
                  </a:lnTo>
                  <a:lnTo>
                    <a:pt x="830803" y="298870"/>
                  </a:lnTo>
                  <a:lnTo>
                    <a:pt x="818988" y="305249"/>
                  </a:lnTo>
                  <a:lnTo>
                    <a:pt x="773262" y="316662"/>
                  </a:lnTo>
                  <a:lnTo>
                    <a:pt x="794039" y="365759"/>
                  </a:lnTo>
                  <a:lnTo>
                    <a:pt x="778203" y="373044"/>
                  </a:lnTo>
                  <a:lnTo>
                    <a:pt x="780046" y="388937"/>
                  </a:lnTo>
                  <a:lnTo>
                    <a:pt x="765819" y="384855"/>
                  </a:lnTo>
                  <a:lnTo>
                    <a:pt x="754243" y="374832"/>
                  </a:lnTo>
                  <a:lnTo>
                    <a:pt x="719994" y="371909"/>
                  </a:lnTo>
                  <a:lnTo>
                    <a:pt x="681722" y="371144"/>
                  </a:lnTo>
                  <a:lnTo>
                    <a:pt x="673334" y="374223"/>
                  </a:lnTo>
                  <a:lnTo>
                    <a:pt x="640462" y="362451"/>
                  </a:lnTo>
                  <a:lnTo>
                    <a:pt x="627361" y="368255"/>
                  </a:lnTo>
                  <a:lnTo>
                    <a:pt x="623771" y="384738"/>
                  </a:lnTo>
                  <a:lnTo>
                    <a:pt x="585797" y="375131"/>
                  </a:lnTo>
                  <a:lnTo>
                    <a:pt x="570600" y="37907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 93"/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5143041" y="4400752"/>
              <a:ext cx="183774" cy="235249"/>
            </a:xfrm>
            <a:custGeom>
              <a:avLst/>
              <a:gdLst/>
              <a:ahLst/>
              <a:cxnLst/>
              <a:rect l="0" t="0" r="0" b="0"/>
              <a:pathLst>
                <a:path w="183774" h="235249">
                  <a:moveTo>
                    <a:pt x="163873" y="147031"/>
                  </a:moveTo>
                  <a:lnTo>
                    <a:pt x="177542" y="166076"/>
                  </a:lnTo>
                  <a:lnTo>
                    <a:pt x="161375" y="175296"/>
                  </a:lnTo>
                  <a:lnTo>
                    <a:pt x="155676" y="184932"/>
                  </a:lnTo>
                  <a:lnTo>
                    <a:pt x="147024" y="186625"/>
                  </a:lnTo>
                  <a:lnTo>
                    <a:pt x="143750" y="202903"/>
                  </a:lnTo>
                  <a:lnTo>
                    <a:pt x="136337" y="212227"/>
                  </a:lnTo>
                  <a:lnTo>
                    <a:pt x="131832" y="227610"/>
                  </a:lnTo>
                  <a:lnTo>
                    <a:pt x="122538" y="235248"/>
                  </a:lnTo>
                  <a:lnTo>
                    <a:pt x="89407" y="212133"/>
                  </a:lnTo>
                  <a:lnTo>
                    <a:pt x="87832" y="198728"/>
                  </a:lnTo>
                  <a:lnTo>
                    <a:pt x="4133" y="151683"/>
                  </a:lnTo>
                  <a:lnTo>
                    <a:pt x="234" y="149148"/>
                  </a:lnTo>
                  <a:lnTo>
                    <a:pt x="0" y="124684"/>
                  </a:lnTo>
                  <a:lnTo>
                    <a:pt x="6611" y="115331"/>
                  </a:lnTo>
                  <a:lnTo>
                    <a:pt x="17970" y="100050"/>
                  </a:lnTo>
                  <a:lnTo>
                    <a:pt x="26370" y="83222"/>
                  </a:lnTo>
                  <a:lnTo>
                    <a:pt x="16215" y="56709"/>
                  </a:lnTo>
                  <a:lnTo>
                    <a:pt x="13516" y="45112"/>
                  </a:lnTo>
                  <a:lnTo>
                    <a:pt x="2572" y="29062"/>
                  </a:lnTo>
                  <a:lnTo>
                    <a:pt x="16772" y="15249"/>
                  </a:lnTo>
                  <a:lnTo>
                    <a:pt x="32418" y="0"/>
                  </a:lnTo>
                  <a:lnTo>
                    <a:pt x="44408" y="3884"/>
                  </a:lnTo>
                  <a:lnTo>
                    <a:pt x="44408" y="16872"/>
                  </a:lnTo>
                  <a:lnTo>
                    <a:pt x="52294" y="24484"/>
                  </a:lnTo>
                  <a:lnTo>
                    <a:pt x="68360" y="24484"/>
                  </a:lnTo>
                  <a:lnTo>
                    <a:pt x="97578" y="44118"/>
                  </a:lnTo>
                  <a:lnTo>
                    <a:pt x="104874" y="44351"/>
                  </a:lnTo>
                  <a:lnTo>
                    <a:pt x="110279" y="43715"/>
                  </a:lnTo>
                  <a:lnTo>
                    <a:pt x="115389" y="46380"/>
                  </a:lnTo>
                  <a:lnTo>
                    <a:pt x="130782" y="48198"/>
                  </a:lnTo>
                  <a:lnTo>
                    <a:pt x="137604" y="38567"/>
                  </a:lnTo>
                  <a:lnTo>
                    <a:pt x="158691" y="28897"/>
                  </a:lnTo>
                  <a:lnTo>
                    <a:pt x="168001" y="36710"/>
                  </a:lnTo>
                  <a:lnTo>
                    <a:pt x="183773" y="36714"/>
                  </a:lnTo>
                  <a:lnTo>
                    <a:pt x="163598" y="6292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 94"/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5964122" y="3461417"/>
              <a:ext cx="249181" cy="110678"/>
            </a:xfrm>
            <a:custGeom>
              <a:avLst/>
              <a:gdLst/>
              <a:ahLst/>
              <a:cxnLst/>
              <a:rect l="0" t="0" r="0" b="0"/>
              <a:pathLst>
                <a:path w="249181" h="110678">
                  <a:moveTo>
                    <a:pt x="34565" y="28816"/>
                  </a:moveTo>
                  <a:lnTo>
                    <a:pt x="39734" y="16619"/>
                  </a:lnTo>
                  <a:lnTo>
                    <a:pt x="54931" y="12680"/>
                  </a:lnTo>
                  <a:lnTo>
                    <a:pt x="92905" y="22287"/>
                  </a:lnTo>
                  <a:lnTo>
                    <a:pt x="96495" y="5804"/>
                  </a:lnTo>
                  <a:lnTo>
                    <a:pt x="109596" y="0"/>
                  </a:lnTo>
                  <a:lnTo>
                    <a:pt x="142468" y="11772"/>
                  </a:lnTo>
                  <a:lnTo>
                    <a:pt x="150856" y="8693"/>
                  </a:lnTo>
                  <a:lnTo>
                    <a:pt x="189128" y="9458"/>
                  </a:lnTo>
                  <a:lnTo>
                    <a:pt x="223377" y="12381"/>
                  </a:lnTo>
                  <a:lnTo>
                    <a:pt x="234953" y="22404"/>
                  </a:lnTo>
                  <a:lnTo>
                    <a:pt x="249180" y="26486"/>
                  </a:lnTo>
                  <a:lnTo>
                    <a:pt x="245935" y="32764"/>
                  </a:lnTo>
                  <a:lnTo>
                    <a:pt x="209562" y="47756"/>
                  </a:lnTo>
                  <a:lnTo>
                    <a:pt x="201334" y="58694"/>
                  </a:lnTo>
                  <a:lnTo>
                    <a:pt x="171726" y="61961"/>
                  </a:lnTo>
                  <a:lnTo>
                    <a:pt x="162998" y="79456"/>
                  </a:lnTo>
                  <a:lnTo>
                    <a:pt x="138564" y="75790"/>
                  </a:lnTo>
                  <a:lnTo>
                    <a:pt x="122615" y="81137"/>
                  </a:lnTo>
                  <a:lnTo>
                    <a:pt x="100580" y="94011"/>
                  </a:lnTo>
                  <a:lnTo>
                    <a:pt x="103760" y="100366"/>
                  </a:lnTo>
                  <a:lnTo>
                    <a:pt x="97189" y="106569"/>
                  </a:lnTo>
                  <a:lnTo>
                    <a:pt x="53547" y="110677"/>
                  </a:lnTo>
                  <a:lnTo>
                    <a:pt x="25028" y="101881"/>
                  </a:lnTo>
                  <a:lnTo>
                    <a:pt x="0" y="103982"/>
                  </a:lnTo>
                  <a:lnTo>
                    <a:pt x="2186" y="88316"/>
                  </a:lnTo>
                  <a:lnTo>
                    <a:pt x="27310" y="92874"/>
                  </a:lnTo>
                  <a:lnTo>
                    <a:pt x="35762" y="84468"/>
                  </a:lnTo>
                  <a:lnTo>
                    <a:pt x="53320" y="87154"/>
                  </a:lnTo>
                  <a:lnTo>
                    <a:pt x="82879" y="67464"/>
                  </a:lnTo>
                  <a:lnTo>
                    <a:pt x="55519" y="52979"/>
                  </a:lnTo>
                  <a:lnTo>
                    <a:pt x="39078" y="59841"/>
                  </a:lnTo>
                  <a:lnTo>
                    <a:pt x="22047" y="49474"/>
                  </a:lnTo>
                  <a:lnTo>
                    <a:pt x="41418" y="3155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 95"/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6723155" y="4189298"/>
              <a:ext cx="121564" cy="95746"/>
            </a:xfrm>
            <a:custGeom>
              <a:avLst/>
              <a:gdLst/>
              <a:ahLst/>
              <a:cxnLst/>
              <a:rect l="0" t="0" r="0" b="0"/>
              <a:pathLst>
                <a:path w="121564" h="95746">
                  <a:moveTo>
                    <a:pt x="26525" y="92338"/>
                  </a:moveTo>
                  <a:lnTo>
                    <a:pt x="17141" y="80169"/>
                  </a:lnTo>
                  <a:lnTo>
                    <a:pt x="5466" y="56006"/>
                  </a:lnTo>
                  <a:lnTo>
                    <a:pt x="0" y="27679"/>
                  </a:lnTo>
                  <a:lnTo>
                    <a:pt x="14779" y="8124"/>
                  </a:lnTo>
                  <a:lnTo>
                    <a:pt x="44626" y="3625"/>
                  </a:lnTo>
                  <a:lnTo>
                    <a:pt x="66262" y="7006"/>
                  </a:lnTo>
                  <a:lnTo>
                    <a:pt x="85309" y="16235"/>
                  </a:lnTo>
                  <a:lnTo>
                    <a:pt x="95753" y="0"/>
                  </a:lnTo>
                  <a:lnTo>
                    <a:pt x="116212" y="8672"/>
                  </a:lnTo>
                  <a:lnTo>
                    <a:pt x="121563" y="24360"/>
                  </a:lnTo>
                  <a:lnTo>
                    <a:pt x="118720" y="52478"/>
                  </a:lnTo>
                  <a:lnTo>
                    <a:pt x="79921" y="70492"/>
                  </a:lnTo>
                  <a:lnTo>
                    <a:pt x="90059" y="84651"/>
                  </a:lnTo>
                  <a:lnTo>
                    <a:pt x="65827" y="86344"/>
                  </a:lnTo>
                  <a:lnTo>
                    <a:pt x="45847" y="9574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 96"/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7271814" y="3590091"/>
              <a:ext cx="77348" cy="111676"/>
            </a:xfrm>
            <a:custGeom>
              <a:avLst/>
              <a:gdLst/>
              <a:ahLst/>
              <a:cxnLst/>
              <a:rect l="0" t="0" r="0" b="0"/>
              <a:pathLst>
                <a:path w="77348" h="111676">
                  <a:moveTo>
                    <a:pt x="51527" y="0"/>
                  </a:moveTo>
                  <a:lnTo>
                    <a:pt x="71453" y="31582"/>
                  </a:lnTo>
                  <a:lnTo>
                    <a:pt x="77166" y="48805"/>
                  </a:lnTo>
                  <a:lnTo>
                    <a:pt x="77347" y="79200"/>
                  </a:lnTo>
                  <a:lnTo>
                    <a:pt x="68646" y="93608"/>
                  </a:lnTo>
                  <a:lnTo>
                    <a:pt x="47745" y="98630"/>
                  </a:lnTo>
                  <a:lnTo>
                    <a:pt x="29295" y="109446"/>
                  </a:lnTo>
                  <a:lnTo>
                    <a:pt x="8502" y="111675"/>
                  </a:lnTo>
                  <a:lnTo>
                    <a:pt x="5921" y="97475"/>
                  </a:lnTo>
                  <a:lnTo>
                    <a:pt x="10198" y="77823"/>
                  </a:lnTo>
                  <a:lnTo>
                    <a:pt x="0" y="50360"/>
                  </a:lnTo>
                  <a:lnTo>
                    <a:pt x="17144" y="45896"/>
                  </a:lnTo>
                  <a:lnTo>
                    <a:pt x="1323" y="23119"/>
                  </a:lnTo>
                  <a:lnTo>
                    <a:pt x="2768" y="20696"/>
                  </a:lnTo>
                  <a:lnTo>
                    <a:pt x="13072" y="21647"/>
                  </a:lnTo>
                  <a:lnTo>
                    <a:pt x="22064" y="9565"/>
                  </a:lnTo>
                  <a:lnTo>
                    <a:pt x="38378" y="8266"/>
                  </a:lnTo>
                  <a:lnTo>
                    <a:pt x="48204" y="649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 97"/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823972" y="3462154"/>
              <a:ext cx="39342" cy="39699"/>
            </a:xfrm>
            <a:custGeom>
              <a:avLst/>
              <a:gdLst/>
              <a:ahLst/>
              <a:cxnLst/>
              <a:rect l="0" t="0" r="0" b="0"/>
              <a:pathLst>
                <a:path w="39342" h="39699">
                  <a:moveTo>
                    <a:pt x="15960" y="34026"/>
                  </a:moveTo>
                  <a:lnTo>
                    <a:pt x="14925" y="39698"/>
                  </a:lnTo>
                  <a:lnTo>
                    <a:pt x="11992" y="39468"/>
                  </a:lnTo>
                  <a:lnTo>
                    <a:pt x="10439" y="29420"/>
                  </a:lnTo>
                  <a:lnTo>
                    <a:pt x="4917" y="26576"/>
                  </a:lnTo>
                  <a:lnTo>
                    <a:pt x="0" y="19106"/>
                  </a:lnTo>
                  <a:lnTo>
                    <a:pt x="4314" y="12854"/>
                  </a:lnTo>
                  <a:lnTo>
                    <a:pt x="9835" y="10845"/>
                  </a:lnTo>
                  <a:lnTo>
                    <a:pt x="13027" y="1552"/>
                  </a:lnTo>
                  <a:lnTo>
                    <a:pt x="17168" y="0"/>
                  </a:lnTo>
                  <a:lnTo>
                    <a:pt x="20447" y="3955"/>
                  </a:lnTo>
                  <a:lnTo>
                    <a:pt x="24761" y="5699"/>
                  </a:lnTo>
                  <a:lnTo>
                    <a:pt x="27780" y="10149"/>
                  </a:lnTo>
                  <a:lnTo>
                    <a:pt x="31576" y="11463"/>
                  </a:lnTo>
                  <a:lnTo>
                    <a:pt x="36062" y="16638"/>
                  </a:lnTo>
                  <a:lnTo>
                    <a:pt x="39341" y="16484"/>
                  </a:lnTo>
                  <a:lnTo>
                    <a:pt x="36753" y="23267"/>
                  </a:lnTo>
                  <a:lnTo>
                    <a:pt x="33992" y="26576"/>
                  </a:lnTo>
                  <a:lnTo>
                    <a:pt x="34761" y="28660"/>
                  </a:lnTo>
                  <a:lnTo>
                    <a:pt x="29592" y="2972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 98"/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5435617" y="3812811"/>
              <a:ext cx="42643" cy="38569"/>
            </a:xfrm>
            <a:custGeom>
              <a:avLst/>
              <a:gdLst/>
              <a:ahLst/>
              <a:cxnLst/>
              <a:rect l="0" t="0" r="0" b="0"/>
              <a:pathLst>
                <a:path w="42643" h="38569">
                  <a:moveTo>
                    <a:pt x="32450" y="2104"/>
                  </a:moveTo>
                  <a:lnTo>
                    <a:pt x="37266" y="13238"/>
                  </a:lnTo>
                  <a:lnTo>
                    <a:pt x="35206" y="18983"/>
                  </a:lnTo>
                  <a:lnTo>
                    <a:pt x="42642" y="37918"/>
                  </a:lnTo>
                  <a:lnTo>
                    <a:pt x="26317" y="38568"/>
                  </a:lnTo>
                  <a:lnTo>
                    <a:pt x="20569" y="26619"/>
                  </a:lnTo>
                  <a:lnTo>
                    <a:pt x="0" y="24195"/>
                  </a:lnTo>
                  <a:lnTo>
                    <a:pt x="16940" y="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Freeform 99"/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6671632" y="4000706"/>
              <a:ext cx="171933" cy="204828"/>
            </a:xfrm>
            <a:custGeom>
              <a:avLst/>
              <a:gdLst/>
              <a:ahLst/>
              <a:cxnLst/>
              <a:rect l="0" t="0" r="0" b="0"/>
              <a:pathLst>
                <a:path w="171933" h="204828">
                  <a:moveTo>
                    <a:pt x="117785" y="195598"/>
                  </a:moveTo>
                  <a:lnTo>
                    <a:pt x="125300" y="184977"/>
                  </a:lnTo>
                  <a:lnTo>
                    <a:pt x="126332" y="164995"/>
                  </a:lnTo>
                  <a:lnTo>
                    <a:pt x="107642" y="144364"/>
                  </a:lnTo>
                  <a:lnTo>
                    <a:pt x="106202" y="120929"/>
                  </a:lnTo>
                  <a:lnTo>
                    <a:pt x="88648" y="101587"/>
                  </a:lnTo>
                  <a:lnTo>
                    <a:pt x="71191" y="99949"/>
                  </a:lnTo>
                  <a:lnTo>
                    <a:pt x="66540" y="108245"/>
                  </a:lnTo>
                  <a:lnTo>
                    <a:pt x="53020" y="108934"/>
                  </a:lnTo>
                  <a:lnTo>
                    <a:pt x="46110" y="104731"/>
                  </a:lnTo>
                  <a:lnTo>
                    <a:pt x="21780" y="118940"/>
                  </a:lnTo>
                  <a:lnTo>
                    <a:pt x="21234" y="97580"/>
                  </a:lnTo>
                  <a:lnTo>
                    <a:pt x="26914" y="72382"/>
                  </a:lnTo>
                  <a:lnTo>
                    <a:pt x="11317" y="71286"/>
                  </a:lnTo>
                  <a:lnTo>
                    <a:pt x="9992" y="56868"/>
                  </a:lnTo>
                  <a:lnTo>
                    <a:pt x="0" y="49449"/>
                  </a:lnTo>
                  <a:lnTo>
                    <a:pt x="4919" y="40584"/>
                  </a:lnTo>
                  <a:lnTo>
                    <a:pt x="24560" y="24893"/>
                  </a:lnTo>
                  <a:lnTo>
                    <a:pt x="26637" y="30565"/>
                  </a:lnTo>
                  <a:lnTo>
                    <a:pt x="38943" y="31223"/>
                  </a:lnTo>
                  <a:lnTo>
                    <a:pt x="35455" y="3555"/>
                  </a:lnTo>
                  <a:lnTo>
                    <a:pt x="47421" y="0"/>
                  </a:lnTo>
                  <a:lnTo>
                    <a:pt x="60912" y="19127"/>
                  </a:lnTo>
                  <a:lnTo>
                    <a:pt x="71276" y="41055"/>
                  </a:lnTo>
                  <a:lnTo>
                    <a:pt x="99693" y="41244"/>
                  </a:lnTo>
                  <a:lnTo>
                    <a:pt x="108640" y="62213"/>
                  </a:lnTo>
                  <a:lnTo>
                    <a:pt x="93886" y="68497"/>
                  </a:lnTo>
                  <a:lnTo>
                    <a:pt x="87264" y="77111"/>
                  </a:lnTo>
                  <a:lnTo>
                    <a:pt x="114919" y="91418"/>
                  </a:lnTo>
                  <a:lnTo>
                    <a:pt x="134105" y="119586"/>
                  </a:lnTo>
                  <a:lnTo>
                    <a:pt x="148652" y="140513"/>
                  </a:lnTo>
                  <a:lnTo>
                    <a:pt x="166119" y="156996"/>
                  </a:lnTo>
                  <a:lnTo>
                    <a:pt x="171932" y="173693"/>
                  </a:lnTo>
                  <a:lnTo>
                    <a:pt x="167735" y="197264"/>
                  </a:lnTo>
                  <a:lnTo>
                    <a:pt x="147276" y="188592"/>
                  </a:lnTo>
                  <a:lnTo>
                    <a:pt x="136832" y="20482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Freeform 100"/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5171490" y="3695127"/>
              <a:ext cx="34295" cy="40343"/>
            </a:xfrm>
            <a:custGeom>
              <a:avLst/>
              <a:gdLst/>
              <a:ahLst/>
              <a:cxnLst/>
              <a:rect l="0" t="0" r="0" b="0"/>
              <a:pathLst>
                <a:path w="34295" h="40343">
                  <a:moveTo>
                    <a:pt x="16043" y="35481"/>
                  </a:moveTo>
                  <a:lnTo>
                    <a:pt x="9850" y="35820"/>
                  </a:lnTo>
                  <a:lnTo>
                    <a:pt x="7724" y="40342"/>
                  </a:lnTo>
                  <a:lnTo>
                    <a:pt x="0" y="40293"/>
                  </a:lnTo>
                  <a:lnTo>
                    <a:pt x="8221" y="19229"/>
                  </a:lnTo>
                  <a:lnTo>
                    <a:pt x="19702" y="909"/>
                  </a:lnTo>
                  <a:lnTo>
                    <a:pt x="20136" y="0"/>
                  </a:lnTo>
                  <a:lnTo>
                    <a:pt x="30518" y="1329"/>
                  </a:lnTo>
                  <a:lnTo>
                    <a:pt x="34294" y="11535"/>
                  </a:lnTo>
                  <a:lnTo>
                    <a:pt x="21707" y="2131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Freeform 101"/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096649" y="4330351"/>
              <a:ext cx="90001" cy="97016"/>
            </a:xfrm>
            <a:custGeom>
              <a:avLst/>
              <a:gdLst/>
              <a:ahLst/>
              <a:cxnLst/>
              <a:rect l="0" t="0" r="0" b="0"/>
              <a:pathLst>
                <a:path w="90001" h="97016">
                  <a:moveTo>
                    <a:pt x="86020" y="96811"/>
                  </a:moveTo>
                  <a:lnTo>
                    <a:pt x="79974" y="97015"/>
                  </a:lnTo>
                  <a:lnTo>
                    <a:pt x="56183" y="85990"/>
                  </a:lnTo>
                  <a:lnTo>
                    <a:pt x="35209" y="68374"/>
                  </a:lnTo>
                  <a:lnTo>
                    <a:pt x="15543" y="55701"/>
                  </a:lnTo>
                  <a:lnTo>
                    <a:pt x="0" y="40748"/>
                  </a:lnTo>
                  <a:lnTo>
                    <a:pt x="5516" y="33328"/>
                  </a:lnTo>
                  <a:lnTo>
                    <a:pt x="6742" y="26580"/>
                  </a:lnTo>
                  <a:lnTo>
                    <a:pt x="17155" y="13979"/>
                  </a:lnTo>
                  <a:lnTo>
                    <a:pt x="27900" y="3135"/>
                  </a:lnTo>
                  <a:lnTo>
                    <a:pt x="32828" y="2617"/>
                  </a:lnTo>
                  <a:lnTo>
                    <a:pt x="38858" y="0"/>
                  </a:lnTo>
                  <a:lnTo>
                    <a:pt x="48508" y="14233"/>
                  </a:lnTo>
                  <a:lnTo>
                    <a:pt x="46983" y="23558"/>
                  </a:lnTo>
                  <a:lnTo>
                    <a:pt x="51474" y="28500"/>
                  </a:lnTo>
                  <a:lnTo>
                    <a:pt x="58000" y="28614"/>
                  </a:lnTo>
                  <a:lnTo>
                    <a:pt x="62708" y="19268"/>
                  </a:lnTo>
                  <a:lnTo>
                    <a:pt x="69236" y="19864"/>
                  </a:lnTo>
                  <a:lnTo>
                    <a:pt x="68171" y="26614"/>
                  </a:lnTo>
                  <a:lnTo>
                    <a:pt x="70479" y="37828"/>
                  </a:lnTo>
                  <a:lnTo>
                    <a:pt x="65460" y="48127"/>
                  </a:lnTo>
                  <a:lnTo>
                    <a:pt x="72189" y="54489"/>
                  </a:lnTo>
                  <a:lnTo>
                    <a:pt x="79522" y="56038"/>
                  </a:lnTo>
                  <a:lnTo>
                    <a:pt x="89298" y="65739"/>
                  </a:lnTo>
                  <a:lnTo>
                    <a:pt x="90000" y="74861"/>
                  </a:lnTo>
                  <a:lnTo>
                    <a:pt x="87793" y="7775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Freeform 102"/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575803" y="3734232"/>
              <a:ext cx="365756" cy="336032"/>
            </a:xfrm>
            <a:custGeom>
              <a:avLst/>
              <a:gdLst/>
              <a:ahLst/>
              <a:cxnLst/>
              <a:rect l="0" t="0" r="0" b="0"/>
              <a:pathLst>
                <a:path w="365756" h="336032">
                  <a:moveTo>
                    <a:pt x="127691" y="256802"/>
                  </a:moveTo>
                  <a:lnTo>
                    <a:pt x="111362" y="265830"/>
                  </a:lnTo>
                  <a:lnTo>
                    <a:pt x="98379" y="252484"/>
                  </a:lnTo>
                  <a:lnTo>
                    <a:pt x="61864" y="241982"/>
                  </a:lnTo>
                  <a:lnTo>
                    <a:pt x="51735" y="226692"/>
                  </a:lnTo>
                  <a:lnTo>
                    <a:pt x="33515" y="215317"/>
                  </a:lnTo>
                  <a:lnTo>
                    <a:pt x="22724" y="219805"/>
                  </a:lnTo>
                  <a:lnTo>
                    <a:pt x="14516" y="206131"/>
                  </a:lnTo>
                  <a:lnTo>
                    <a:pt x="13649" y="195597"/>
                  </a:lnTo>
                  <a:lnTo>
                    <a:pt x="0" y="177625"/>
                  </a:lnTo>
                  <a:lnTo>
                    <a:pt x="9161" y="167290"/>
                  </a:lnTo>
                  <a:lnTo>
                    <a:pt x="7148" y="151696"/>
                  </a:lnTo>
                  <a:lnTo>
                    <a:pt x="10081" y="138077"/>
                  </a:lnTo>
                  <a:lnTo>
                    <a:pt x="8413" y="126700"/>
                  </a:lnTo>
                  <a:lnTo>
                    <a:pt x="12479" y="106266"/>
                  </a:lnTo>
                  <a:lnTo>
                    <a:pt x="11224" y="94584"/>
                  </a:lnTo>
                  <a:lnTo>
                    <a:pt x="3757" y="72293"/>
                  </a:lnTo>
                  <a:lnTo>
                    <a:pt x="15018" y="66422"/>
                  </a:lnTo>
                  <a:lnTo>
                    <a:pt x="17016" y="55695"/>
                  </a:lnTo>
                  <a:lnTo>
                    <a:pt x="14561" y="45150"/>
                  </a:lnTo>
                  <a:lnTo>
                    <a:pt x="30412" y="35316"/>
                  </a:lnTo>
                  <a:lnTo>
                    <a:pt x="37519" y="27119"/>
                  </a:lnTo>
                  <a:lnTo>
                    <a:pt x="48771" y="19760"/>
                  </a:lnTo>
                  <a:lnTo>
                    <a:pt x="50075" y="0"/>
                  </a:lnTo>
                  <a:lnTo>
                    <a:pt x="77187" y="8868"/>
                  </a:lnTo>
                  <a:lnTo>
                    <a:pt x="86880" y="6653"/>
                  </a:lnTo>
                  <a:lnTo>
                    <a:pt x="106164" y="10947"/>
                  </a:lnTo>
                  <a:lnTo>
                    <a:pt x="136793" y="22423"/>
                  </a:lnTo>
                  <a:lnTo>
                    <a:pt x="147603" y="45146"/>
                  </a:lnTo>
                  <a:lnTo>
                    <a:pt x="168324" y="50090"/>
                  </a:lnTo>
                  <a:lnTo>
                    <a:pt x="200859" y="60732"/>
                  </a:lnTo>
                  <a:lnTo>
                    <a:pt x="225449" y="73335"/>
                  </a:lnTo>
                  <a:lnTo>
                    <a:pt x="236705" y="66764"/>
                  </a:lnTo>
                  <a:lnTo>
                    <a:pt x="247768" y="55087"/>
                  </a:lnTo>
                  <a:lnTo>
                    <a:pt x="242390" y="35562"/>
                  </a:lnTo>
                  <a:lnTo>
                    <a:pt x="249629" y="23112"/>
                  </a:lnTo>
                  <a:lnTo>
                    <a:pt x="266262" y="11080"/>
                  </a:lnTo>
                  <a:lnTo>
                    <a:pt x="282153" y="7571"/>
                  </a:lnTo>
                  <a:lnTo>
                    <a:pt x="313379" y="12834"/>
                  </a:lnTo>
                  <a:lnTo>
                    <a:pt x="321251" y="24310"/>
                  </a:lnTo>
                  <a:lnTo>
                    <a:pt x="329845" y="24418"/>
                  </a:lnTo>
                  <a:lnTo>
                    <a:pt x="337194" y="28787"/>
                  </a:lnTo>
                  <a:lnTo>
                    <a:pt x="360130" y="31789"/>
                  </a:lnTo>
                  <a:lnTo>
                    <a:pt x="365755" y="40226"/>
                  </a:lnTo>
                  <a:lnTo>
                    <a:pt x="357400" y="52454"/>
                  </a:lnTo>
                  <a:lnTo>
                    <a:pt x="360972" y="63320"/>
                  </a:lnTo>
                  <a:lnTo>
                    <a:pt x="355027" y="78955"/>
                  </a:lnTo>
                  <a:lnTo>
                    <a:pt x="361950" y="99264"/>
                  </a:lnTo>
                  <a:lnTo>
                    <a:pt x="361950" y="187788"/>
                  </a:lnTo>
                  <a:lnTo>
                    <a:pt x="361950" y="277740"/>
                  </a:lnTo>
                  <a:lnTo>
                    <a:pt x="361950" y="325892"/>
                  </a:lnTo>
                  <a:lnTo>
                    <a:pt x="335405" y="325965"/>
                  </a:lnTo>
                  <a:lnTo>
                    <a:pt x="335120" y="336031"/>
                  </a:lnTo>
                  <a:lnTo>
                    <a:pt x="243058" y="289953"/>
                  </a:lnTo>
                  <a:lnTo>
                    <a:pt x="150994" y="24349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Freeform 103"/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6200264" y="4300490"/>
              <a:ext cx="48308" cy="89556"/>
            </a:xfrm>
            <a:custGeom>
              <a:avLst/>
              <a:gdLst/>
              <a:ahLst/>
              <a:cxnLst/>
              <a:rect l="0" t="0" r="0" b="0"/>
              <a:pathLst>
                <a:path w="48308" h="89556">
                  <a:moveTo>
                    <a:pt x="48307" y="53508"/>
                  </a:moveTo>
                  <a:lnTo>
                    <a:pt x="44830" y="77659"/>
                  </a:lnTo>
                  <a:lnTo>
                    <a:pt x="35152" y="84255"/>
                  </a:lnTo>
                  <a:lnTo>
                    <a:pt x="15078" y="89555"/>
                  </a:lnTo>
                  <a:lnTo>
                    <a:pt x="4093" y="71129"/>
                  </a:lnTo>
                  <a:lnTo>
                    <a:pt x="0" y="37768"/>
                  </a:lnTo>
                  <a:lnTo>
                    <a:pt x="10448" y="0"/>
                  </a:lnTo>
                  <a:lnTo>
                    <a:pt x="26399" y="12941"/>
                  </a:lnTo>
                  <a:lnTo>
                    <a:pt x="37144" y="2932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Freeform 104"/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983902" y="5207605"/>
              <a:ext cx="53689" cy="50367"/>
            </a:xfrm>
            <a:custGeom>
              <a:avLst/>
              <a:gdLst/>
              <a:ahLst/>
              <a:cxnLst/>
              <a:rect l="0" t="0" r="0" b="0"/>
              <a:pathLst>
                <a:path w="53689" h="50367">
                  <a:moveTo>
                    <a:pt x="45680" y="7728"/>
                  </a:moveTo>
                  <a:lnTo>
                    <a:pt x="53688" y="15311"/>
                  </a:lnTo>
                  <a:lnTo>
                    <a:pt x="46607" y="27563"/>
                  </a:lnTo>
                  <a:lnTo>
                    <a:pt x="42683" y="35803"/>
                  </a:lnTo>
                  <a:lnTo>
                    <a:pt x="29818" y="39752"/>
                  </a:lnTo>
                  <a:lnTo>
                    <a:pt x="25574" y="47845"/>
                  </a:lnTo>
                  <a:lnTo>
                    <a:pt x="17315" y="50366"/>
                  </a:lnTo>
                  <a:lnTo>
                    <a:pt x="0" y="30899"/>
                  </a:lnTo>
                  <a:lnTo>
                    <a:pt x="12309" y="14943"/>
                  </a:lnTo>
                  <a:lnTo>
                    <a:pt x="24815" y="5114"/>
                  </a:lnTo>
                  <a:lnTo>
                    <a:pt x="35603" y="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Freeform 105"/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846711" y="3066903"/>
              <a:ext cx="127705" cy="79318"/>
            </a:xfrm>
            <a:custGeom>
              <a:avLst/>
              <a:gdLst/>
              <a:ahLst/>
              <a:cxnLst/>
              <a:rect l="0" t="0" r="0" b="0"/>
              <a:pathLst>
                <a:path w="127705" h="79318">
                  <a:moveTo>
                    <a:pt x="38670" y="65939"/>
                  </a:moveTo>
                  <a:lnTo>
                    <a:pt x="36822" y="57810"/>
                  </a:lnTo>
                  <a:lnTo>
                    <a:pt x="39286" y="49055"/>
                  </a:lnTo>
                  <a:lnTo>
                    <a:pt x="29082" y="43967"/>
                  </a:lnTo>
                  <a:lnTo>
                    <a:pt x="4908" y="38337"/>
                  </a:lnTo>
                  <a:lnTo>
                    <a:pt x="0" y="11139"/>
                  </a:lnTo>
                  <a:lnTo>
                    <a:pt x="26438" y="1135"/>
                  </a:lnTo>
                  <a:lnTo>
                    <a:pt x="65150" y="3230"/>
                  </a:lnTo>
                  <a:lnTo>
                    <a:pt x="87827" y="0"/>
                  </a:lnTo>
                  <a:lnTo>
                    <a:pt x="91064" y="6791"/>
                  </a:lnTo>
                  <a:lnTo>
                    <a:pt x="103347" y="8885"/>
                  </a:lnTo>
                  <a:lnTo>
                    <a:pt x="125535" y="24637"/>
                  </a:lnTo>
                  <a:lnTo>
                    <a:pt x="127704" y="39087"/>
                  </a:lnTo>
                  <a:lnTo>
                    <a:pt x="108780" y="49363"/>
                  </a:lnTo>
                  <a:lnTo>
                    <a:pt x="103423" y="67374"/>
                  </a:lnTo>
                  <a:lnTo>
                    <a:pt x="78363" y="79317"/>
                  </a:lnTo>
                  <a:lnTo>
                    <a:pt x="56052" y="79102"/>
                  </a:lnTo>
                  <a:lnTo>
                    <a:pt x="50509" y="6933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Freeform 106"/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491659" y="3262886"/>
              <a:ext cx="13128" cy="20602"/>
            </a:xfrm>
            <a:custGeom>
              <a:avLst/>
              <a:gdLst/>
              <a:ahLst/>
              <a:cxnLst/>
              <a:rect l="0" t="0" r="0" b="0"/>
              <a:pathLst>
                <a:path w="13128" h="20602">
                  <a:moveTo>
                    <a:pt x="8518" y="0"/>
                  </a:moveTo>
                  <a:lnTo>
                    <a:pt x="13127" y="6806"/>
                  </a:lnTo>
                  <a:lnTo>
                    <a:pt x="11824" y="19968"/>
                  </a:lnTo>
                  <a:lnTo>
                    <a:pt x="5163" y="20601"/>
                  </a:lnTo>
                  <a:lnTo>
                    <a:pt x="0" y="18001"/>
                  </a:lnTo>
                  <a:lnTo>
                    <a:pt x="2501" y="113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Freeform 107"/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846711" y="3014062"/>
              <a:ext cx="164370" cy="77479"/>
            </a:xfrm>
            <a:custGeom>
              <a:avLst/>
              <a:gdLst/>
              <a:ahLst/>
              <a:cxnLst/>
              <a:rect l="0" t="0" r="0" b="0"/>
              <a:pathLst>
                <a:path w="164370" h="77479">
                  <a:moveTo>
                    <a:pt x="0" y="63980"/>
                  </a:moveTo>
                  <a:lnTo>
                    <a:pt x="799" y="39351"/>
                  </a:lnTo>
                  <a:lnTo>
                    <a:pt x="12143" y="18603"/>
                  </a:lnTo>
                  <a:lnTo>
                    <a:pt x="33898" y="7242"/>
                  </a:lnTo>
                  <a:lnTo>
                    <a:pt x="52228" y="32026"/>
                  </a:lnTo>
                  <a:lnTo>
                    <a:pt x="70747" y="31384"/>
                  </a:lnTo>
                  <a:lnTo>
                    <a:pt x="75181" y="5906"/>
                  </a:lnTo>
                  <a:lnTo>
                    <a:pt x="94842" y="0"/>
                  </a:lnTo>
                  <a:lnTo>
                    <a:pt x="104957" y="4100"/>
                  </a:lnTo>
                  <a:lnTo>
                    <a:pt x="124825" y="16461"/>
                  </a:lnTo>
                  <a:lnTo>
                    <a:pt x="143860" y="16523"/>
                  </a:lnTo>
                  <a:lnTo>
                    <a:pt x="154982" y="24159"/>
                  </a:lnTo>
                  <a:lnTo>
                    <a:pt x="156950" y="40158"/>
                  </a:lnTo>
                  <a:lnTo>
                    <a:pt x="164369" y="59482"/>
                  </a:lnTo>
                  <a:lnTo>
                    <a:pt x="139573" y="72029"/>
                  </a:lnTo>
                  <a:lnTo>
                    <a:pt x="125535" y="77478"/>
                  </a:lnTo>
                  <a:lnTo>
                    <a:pt x="103347" y="61726"/>
                  </a:lnTo>
                  <a:lnTo>
                    <a:pt x="91064" y="59632"/>
                  </a:lnTo>
                  <a:lnTo>
                    <a:pt x="87827" y="52841"/>
                  </a:lnTo>
                  <a:lnTo>
                    <a:pt x="65150" y="56071"/>
                  </a:lnTo>
                  <a:lnTo>
                    <a:pt x="26438" y="5397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Freeform 108"/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3967809" y="3665931"/>
              <a:ext cx="366921" cy="360052"/>
            </a:xfrm>
            <a:custGeom>
              <a:avLst/>
              <a:gdLst/>
              <a:ahLst/>
              <a:cxnLst/>
              <a:rect l="0" t="0" r="0" b="0"/>
              <a:pathLst>
                <a:path w="366921" h="360052">
                  <a:moveTo>
                    <a:pt x="272989" y="127"/>
                  </a:moveTo>
                  <a:lnTo>
                    <a:pt x="286905" y="11269"/>
                  </a:lnTo>
                  <a:lnTo>
                    <a:pt x="308855" y="9456"/>
                  </a:lnTo>
                  <a:lnTo>
                    <a:pt x="332763" y="15240"/>
                  </a:lnTo>
                  <a:lnTo>
                    <a:pt x="342790" y="15520"/>
                  </a:lnTo>
                  <a:lnTo>
                    <a:pt x="351491" y="32245"/>
                  </a:lnTo>
                  <a:lnTo>
                    <a:pt x="352865" y="48055"/>
                  </a:lnTo>
                  <a:lnTo>
                    <a:pt x="360838" y="75336"/>
                  </a:lnTo>
                  <a:lnTo>
                    <a:pt x="366920" y="80802"/>
                  </a:lnTo>
                  <a:lnTo>
                    <a:pt x="362688" y="90780"/>
                  </a:lnTo>
                  <a:lnTo>
                    <a:pt x="332479" y="95100"/>
                  </a:lnTo>
                  <a:lnTo>
                    <a:pt x="322037" y="104560"/>
                  </a:lnTo>
                  <a:lnTo>
                    <a:pt x="308683" y="106787"/>
                  </a:lnTo>
                  <a:lnTo>
                    <a:pt x="307692" y="125645"/>
                  </a:lnTo>
                  <a:lnTo>
                    <a:pt x="280704" y="135689"/>
                  </a:lnTo>
                  <a:lnTo>
                    <a:pt x="271875" y="148361"/>
                  </a:lnTo>
                  <a:lnTo>
                    <a:pt x="252982" y="155146"/>
                  </a:lnTo>
                  <a:lnTo>
                    <a:pt x="229932" y="158991"/>
                  </a:lnTo>
                  <a:lnTo>
                    <a:pt x="192656" y="177546"/>
                  </a:lnTo>
                  <a:lnTo>
                    <a:pt x="192853" y="207171"/>
                  </a:lnTo>
                  <a:lnTo>
                    <a:pt x="189339" y="207171"/>
                  </a:lnTo>
                  <a:lnTo>
                    <a:pt x="189338" y="207171"/>
                  </a:lnTo>
                  <a:lnTo>
                    <a:pt x="189868" y="220500"/>
                  </a:lnTo>
                  <a:lnTo>
                    <a:pt x="175599" y="221301"/>
                  </a:lnTo>
                  <a:lnTo>
                    <a:pt x="168160" y="226948"/>
                  </a:lnTo>
                  <a:lnTo>
                    <a:pt x="157678" y="226948"/>
                  </a:lnTo>
                  <a:lnTo>
                    <a:pt x="149326" y="223726"/>
                  </a:lnTo>
                  <a:lnTo>
                    <a:pt x="129907" y="226391"/>
                  </a:lnTo>
                  <a:lnTo>
                    <a:pt x="122389" y="245685"/>
                  </a:lnTo>
                  <a:lnTo>
                    <a:pt x="115176" y="247494"/>
                  </a:lnTo>
                  <a:lnTo>
                    <a:pt x="104322" y="278527"/>
                  </a:lnTo>
                  <a:lnTo>
                    <a:pt x="72234" y="304933"/>
                  </a:lnTo>
                  <a:lnTo>
                    <a:pt x="64615" y="338525"/>
                  </a:lnTo>
                  <a:lnTo>
                    <a:pt x="55159" y="349407"/>
                  </a:lnTo>
                  <a:lnTo>
                    <a:pt x="52386" y="358121"/>
                  </a:lnTo>
                  <a:lnTo>
                    <a:pt x="403" y="360051"/>
                  </a:lnTo>
                  <a:lnTo>
                    <a:pt x="0" y="360012"/>
                  </a:lnTo>
                  <a:lnTo>
                    <a:pt x="1089" y="348807"/>
                  </a:lnTo>
                  <a:lnTo>
                    <a:pt x="9956" y="342208"/>
                  </a:lnTo>
                  <a:lnTo>
                    <a:pt x="17509" y="329565"/>
                  </a:lnTo>
                  <a:lnTo>
                    <a:pt x="16020" y="321338"/>
                  </a:lnTo>
                  <a:lnTo>
                    <a:pt x="23956" y="304143"/>
                  </a:lnTo>
                  <a:lnTo>
                    <a:pt x="36804" y="288600"/>
                  </a:lnTo>
                  <a:lnTo>
                    <a:pt x="44575" y="284654"/>
                  </a:lnTo>
                  <a:lnTo>
                    <a:pt x="50685" y="270340"/>
                  </a:lnTo>
                  <a:lnTo>
                    <a:pt x="51233" y="257229"/>
                  </a:lnTo>
                  <a:lnTo>
                    <a:pt x="59565" y="241970"/>
                  </a:lnTo>
                  <a:lnTo>
                    <a:pt x="74941" y="232949"/>
                  </a:lnTo>
                  <a:lnTo>
                    <a:pt x="89572" y="207577"/>
                  </a:lnTo>
                  <a:lnTo>
                    <a:pt x="89996" y="207228"/>
                  </a:lnTo>
                  <a:lnTo>
                    <a:pt x="101601" y="197648"/>
                  </a:lnTo>
                  <a:lnTo>
                    <a:pt x="123066" y="194889"/>
                  </a:lnTo>
                  <a:lnTo>
                    <a:pt x="141254" y="177776"/>
                  </a:lnTo>
                  <a:lnTo>
                    <a:pt x="152827" y="171086"/>
                  </a:lnTo>
                  <a:lnTo>
                    <a:pt x="172096" y="150051"/>
                  </a:lnTo>
                  <a:lnTo>
                    <a:pt x="166327" y="118504"/>
                  </a:lnTo>
                  <a:lnTo>
                    <a:pt x="175097" y="96540"/>
                  </a:lnTo>
                  <a:lnTo>
                    <a:pt x="178193" y="83034"/>
                  </a:lnTo>
                  <a:lnTo>
                    <a:pt x="193040" y="65637"/>
                  </a:lnTo>
                  <a:lnTo>
                    <a:pt x="216198" y="53826"/>
                  </a:lnTo>
                  <a:lnTo>
                    <a:pt x="233318" y="43104"/>
                  </a:lnTo>
                  <a:lnTo>
                    <a:pt x="248741" y="16110"/>
                  </a:lnTo>
                  <a:lnTo>
                    <a:pt x="255998" y="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Freeform 109"/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975132" y="3312530"/>
              <a:ext cx="78605" cy="86780"/>
            </a:xfrm>
            <a:custGeom>
              <a:avLst/>
              <a:gdLst/>
              <a:ahLst/>
              <a:cxnLst/>
              <a:rect l="0" t="0" r="0" b="0"/>
              <a:pathLst>
                <a:path w="78605" h="86780">
                  <a:moveTo>
                    <a:pt x="0" y="7285"/>
                  </a:moveTo>
                  <a:lnTo>
                    <a:pt x="5505" y="2927"/>
                  </a:lnTo>
                  <a:lnTo>
                    <a:pt x="20848" y="0"/>
                  </a:lnTo>
                  <a:lnTo>
                    <a:pt x="37860" y="9209"/>
                  </a:lnTo>
                  <a:lnTo>
                    <a:pt x="47355" y="10312"/>
                  </a:lnTo>
                  <a:lnTo>
                    <a:pt x="57784" y="18236"/>
                  </a:lnTo>
                  <a:lnTo>
                    <a:pt x="56126" y="28181"/>
                  </a:lnTo>
                  <a:lnTo>
                    <a:pt x="64534" y="32969"/>
                  </a:lnTo>
                  <a:lnTo>
                    <a:pt x="67871" y="45167"/>
                  </a:lnTo>
                  <a:lnTo>
                    <a:pt x="75931" y="52558"/>
                  </a:lnTo>
                  <a:lnTo>
                    <a:pt x="74300" y="56881"/>
                  </a:lnTo>
                  <a:lnTo>
                    <a:pt x="78604" y="59819"/>
                  </a:lnTo>
                  <a:lnTo>
                    <a:pt x="72494" y="61959"/>
                  </a:lnTo>
                  <a:lnTo>
                    <a:pt x="58891" y="61112"/>
                  </a:lnTo>
                  <a:lnTo>
                    <a:pt x="56616" y="57103"/>
                  </a:lnTo>
                  <a:lnTo>
                    <a:pt x="51789" y="59415"/>
                  </a:lnTo>
                  <a:lnTo>
                    <a:pt x="53422" y="64596"/>
                  </a:lnTo>
                  <a:lnTo>
                    <a:pt x="47104" y="73796"/>
                  </a:lnTo>
                  <a:lnTo>
                    <a:pt x="43071" y="83662"/>
                  </a:lnTo>
                  <a:lnTo>
                    <a:pt x="37260" y="86779"/>
                  </a:lnTo>
                  <a:lnTo>
                    <a:pt x="33126" y="73664"/>
                  </a:lnTo>
                  <a:lnTo>
                    <a:pt x="35563" y="61335"/>
                  </a:lnTo>
                  <a:lnTo>
                    <a:pt x="34825" y="48603"/>
                  </a:lnTo>
                  <a:lnTo>
                    <a:pt x="21509" y="31259"/>
                  </a:lnTo>
                  <a:lnTo>
                    <a:pt x="14185" y="18892"/>
                  </a:lnTo>
                  <a:lnTo>
                    <a:pt x="7036" y="1016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 110"/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5359109" y="4807217"/>
              <a:ext cx="166712" cy="324707"/>
            </a:xfrm>
            <a:custGeom>
              <a:avLst/>
              <a:gdLst/>
              <a:ahLst/>
              <a:cxnLst/>
              <a:rect l="0" t="0" r="0" b="0"/>
              <a:pathLst>
                <a:path w="166712" h="324707">
                  <a:moveTo>
                    <a:pt x="145174" y="10056"/>
                  </a:moveTo>
                  <a:lnTo>
                    <a:pt x="151302" y="20033"/>
                  </a:lnTo>
                  <a:lnTo>
                    <a:pt x="157016" y="35542"/>
                  </a:lnTo>
                  <a:lnTo>
                    <a:pt x="160730" y="63863"/>
                  </a:lnTo>
                  <a:lnTo>
                    <a:pt x="166711" y="74900"/>
                  </a:lnTo>
                  <a:lnTo>
                    <a:pt x="164416" y="86233"/>
                  </a:lnTo>
                  <a:lnTo>
                    <a:pt x="160334" y="93194"/>
                  </a:lnTo>
                  <a:lnTo>
                    <a:pt x="152494" y="79335"/>
                  </a:lnTo>
                  <a:lnTo>
                    <a:pt x="148154" y="86331"/>
                  </a:lnTo>
                  <a:lnTo>
                    <a:pt x="152557" y="103872"/>
                  </a:lnTo>
                  <a:lnTo>
                    <a:pt x="150507" y="113930"/>
                  </a:lnTo>
                  <a:lnTo>
                    <a:pt x="144138" y="119415"/>
                  </a:lnTo>
                  <a:lnTo>
                    <a:pt x="142684" y="139568"/>
                  </a:lnTo>
                  <a:lnTo>
                    <a:pt x="133593" y="167403"/>
                  </a:lnTo>
                  <a:lnTo>
                    <a:pt x="122208" y="200471"/>
                  </a:lnTo>
                  <a:lnTo>
                    <a:pt x="107947" y="246241"/>
                  </a:lnTo>
                  <a:lnTo>
                    <a:pt x="99106" y="280080"/>
                  </a:lnTo>
                  <a:lnTo>
                    <a:pt x="88674" y="308476"/>
                  </a:lnTo>
                  <a:lnTo>
                    <a:pt x="69901" y="314295"/>
                  </a:lnTo>
                  <a:lnTo>
                    <a:pt x="49750" y="324706"/>
                  </a:lnTo>
                  <a:lnTo>
                    <a:pt x="36456" y="318419"/>
                  </a:lnTo>
                  <a:lnTo>
                    <a:pt x="18132" y="309623"/>
                  </a:lnTo>
                  <a:lnTo>
                    <a:pt x="11762" y="296680"/>
                  </a:lnTo>
                  <a:lnTo>
                    <a:pt x="10239" y="275008"/>
                  </a:lnTo>
                  <a:lnTo>
                    <a:pt x="2111" y="255599"/>
                  </a:lnTo>
                  <a:lnTo>
                    <a:pt x="0" y="238143"/>
                  </a:lnTo>
                  <a:lnTo>
                    <a:pt x="4134" y="220707"/>
                  </a:lnTo>
                  <a:lnTo>
                    <a:pt x="14761" y="216528"/>
                  </a:lnTo>
                  <a:lnTo>
                    <a:pt x="14823" y="208502"/>
                  </a:lnTo>
                  <a:lnTo>
                    <a:pt x="25856" y="190265"/>
                  </a:lnTo>
                  <a:lnTo>
                    <a:pt x="27935" y="174986"/>
                  </a:lnTo>
                  <a:lnTo>
                    <a:pt x="22580" y="163652"/>
                  </a:lnTo>
                  <a:lnTo>
                    <a:pt x="18207" y="148588"/>
                  </a:lnTo>
                  <a:lnTo>
                    <a:pt x="16363" y="126639"/>
                  </a:lnTo>
                  <a:lnTo>
                    <a:pt x="24428" y="113347"/>
                  </a:lnTo>
                  <a:lnTo>
                    <a:pt x="27522" y="98307"/>
                  </a:lnTo>
                  <a:lnTo>
                    <a:pt x="39027" y="97434"/>
                  </a:lnTo>
                  <a:lnTo>
                    <a:pt x="51902" y="92581"/>
                  </a:lnTo>
                  <a:lnTo>
                    <a:pt x="60449" y="88300"/>
                  </a:lnTo>
                  <a:lnTo>
                    <a:pt x="70588" y="87982"/>
                  </a:lnTo>
                  <a:lnTo>
                    <a:pt x="83744" y="74514"/>
                  </a:lnTo>
                  <a:lnTo>
                    <a:pt x="102739" y="59985"/>
                  </a:lnTo>
                  <a:lnTo>
                    <a:pt x="109666" y="48136"/>
                  </a:lnTo>
                  <a:lnTo>
                    <a:pt x="106523" y="38083"/>
                  </a:lnTo>
                  <a:lnTo>
                    <a:pt x="116328" y="40910"/>
                  </a:lnTo>
                  <a:lnTo>
                    <a:pt x="129052" y="24583"/>
                  </a:lnTo>
                  <a:lnTo>
                    <a:pt x="129478" y="10479"/>
                  </a:lnTo>
                  <a:lnTo>
                    <a:pt x="137122" y="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Freeform 111"/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833031" y="3488729"/>
              <a:ext cx="57459" cy="40792"/>
            </a:xfrm>
            <a:custGeom>
              <a:avLst/>
              <a:gdLst/>
              <a:ahLst/>
              <a:cxnLst/>
              <a:rect l="0" t="0" r="0" b="0"/>
              <a:pathLst>
                <a:path w="57459" h="40792">
                  <a:moveTo>
                    <a:pt x="2933" y="12893"/>
                  </a:moveTo>
                  <a:lnTo>
                    <a:pt x="5866" y="13123"/>
                  </a:lnTo>
                  <a:lnTo>
                    <a:pt x="6901" y="7451"/>
                  </a:lnTo>
                  <a:lnTo>
                    <a:pt x="20533" y="3152"/>
                  </a:lnTo>
                  <a:lnTo>
                    <a:pt x="25702" y="2085"/>
                  </a:lnTo>
                  <a:lnTo>
                    <a:pt x="33560" y="462"/>
                  </a:lnTo>
                  <a:lnTo>
                    <a:pt x="44258" y="0"/>
                  </a:lnTo>
                  <a:lnTo>
                    <a:pt x="55819" y="8909"/>
                  </a:lnTo>
                  <a:lnTo>
                    <a:pt x="57458" y="27179"/>
                  </a:lnTo>
                  <a:lnTo>
                    <a:pt x="53058" y="28094"/>
                  </a:lnTo>
                  <a:lnTo>
                    <a:pt x="49262" y="32890"/>
                  </a:lnTo>
                  <a:lnTo>
                    <a:pt x="36753" y="32357"/>
                  </a:lnTo>
                  <a:lnTo>
                    <a:pt x="27953" y="38362"/>
                  </a:lnTo>
                  <a:lnTo>
                    <a:pt x="12854" y="40791"/>
                  </a:lnTo>
                  <a:lnTo>
                    <a:pt x="3278" y="34106"/>
                  </a:lnTo>
                  <a:lnTo>
                    <a:pt x="0" y="2229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Freeform 112"/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079753" y="3939439"/>
              <a:ext cx="379502" cy="354706"/>
            </a:xfrm>
            <a:custGeom>
              <a:avLst/>
              <a:gdLst/>
              <a:ahLst/>
              <a:cxnLst/>
              <a:rect l="0" t="0" r="0" b="0"/>
              <a:pathLst>
                <a:path w="379502" h="354706">
                  <a:moveTo>
                    <a:pt x="0" y="248769"/>
                  </a:moveTo>
                  <a:lnTo>
                    <a:pt x="7768" y="244472"/>
                  </a:lnTo>
                  <a:lnTo>
                    <a:pt x="11649" y="230566"/>
                  </a:lnTo>
                  <a:lnTo>
                    <a:pt x="18966" y="230021"/>
                  </a:lnTo>
                  <a:lnTo>
                    <a:pt x="35085" y="236599"/>
                  </a:lnTo>
                  <a:lnTo>
                    <a:pt x="48102" y="231929"/>
                  </a:lnTo>
                  <a:lnTo>
                    <a:pt x="57026" y="233497"/>
                  </a:lnTo>
                  <a:lnTo>
                    <a:pt x="60488" y="228243"/>
                  </a:lnTo>
                  <a:lnTo>
                    <a:pt x="153108" y="227884"/>
                  </a:lnTo>
                  <a:lnTo>
                    <a:pt x="158243" y="211318"/>
                  </a:lnTo>
                  <a:lnTo>
                    <a:pt x="154244" y="208399"/>
                  </a:lnTo>
                  <a:lnTo>
                    <a:pt x="143104" y="105350"/>
                  </a:lnTo>
                  <a:lnTo>
                    <a:pt x="131963" y="442"/>
                  </a:lnTo>
                  <a:lnTo>
                    <a:pt x="167290" y="0"/>
                  </a:lnTo>
                  <a:lnTo>
                    <a:pt x="245154" y="53303"/>
                  </a:lnTo>
                  <a:lnTo>
                    <a:pt x="323019" y="106073"/>
                  </a:lnTo>
                  <a:lnTo>
                    <a:pt x="328507" y="117342"/>
                  </a:lnTo>
                  <a:lnTo>
                    <a:pt x="342878" y="124209"/>
                  </a:lnTo>
                  <a:lnTo>
                    <a:pt x="353567" y="128112"/>
                  </a:lnTo>
                  <a:lnTo>
                    <a:pt x="353832" y="143352"/>
                  </a:lnTo>
                  <a:lnTo>
                    <a:pt x="379437" y="141009"/>
                  </a:lnTo>
                  <a:lnTo>
                    <a:pt x="379501" y="195897"/>
                  </a:lnTo>
                  <a:lnTo>
                    <a:pt x="366880" y="211734"/>
                  </a:lnTo>
                  <a:lnTo>
                    <a:pt x="364914" y="226314"/>
                  </a:lnTo>
                  <a:lnTo>
                    <a:pt x="344411" y="230062"/>
                  </a:lnTo>
                  <a:lnTo>
                    <a:pt x="312915" y="232093"/>
                  </a:lnTo>
                  <a:lnTo>
                    <a:pt x="304381" y="240483"/>
                  </a:lnTo>
                  <a:lnTo>
                    <a:pt x="289587" y="241410"/>
                  </a:lnTo>
                  <a:lnTo>
                    <a:pt x="274787" y="241518"/>
                  </a:lnTo>
                  <a:lnTo>
                    <a:pt x="269026" y="236991"/>
                  </a:lnTo>
                  <a:lnTo>
                    <a:pt x="256319" y="240350"/>
                  </a:lnTo>
                  <a:lnTo>
                    <a:pt x="234744" y="250132"/>
                  </a:lnTo>
                  <a:lnTo>
                    <a:pt x="230340" y="257496"/>
                  </a:lnTo>
                  <a:lnTo>
                    <a:pt x="212431" y="268044"/>
                  </a:lnTo>
                  <a:lnTo>
                    <a:pt x="209292" y="274084"/>
                  </a:lnTo>
                  <a:lnTo>
                    <a:pt x="199618" y="278867"/>
                  </a:lnTo>
                  <a:lnTo>
                    <a:pt x="188455" y="275700"/>
                  </a:lnTo>
                  <a:lnTo>
                    <a:pt x="182130" y="281432"/>
                  </a:lnTo>
                  <a:lnTo>
                    <a:pt x="178742" y="297523"/>
                  </a:lnTo>
                  <a:lnTo>
                    <a:pt x="160420" y="316931"/>
                  </a:lnTo>
                  <a:lnTo>
                    <a:pt x="160953" y="324852"/>
                  </a:lnTo>
                  <a:lnTo>
                    <a:pt x="154658" y="334756"/>
                  </a:lnTo>
                  <a:lnTo>
                    <a:pt x="156187" y="348306"/>
                  </a:lnTo>
                  <a:lnTo>
                    <a:pt x="146663" y="351762"/>
                  </a:lnTo>
                  <a:lnTo>
                    <a:pt x="141273" y="354705"/>
                  </a:lnTo>
                  <a:lnTo>
                    <a:pt x="137700" y="344729"/>
                  </a:lnTo>
                  <a:lnTo>
                    <a:pt x="131035" y="347360"/>
                  </a:lnTo>
                  <a:lnTo>
                    <a:pt x="127054" y="346905"/>
                  </a:lnTo>
                  <a:lnTo>
                    <a:pt x="122806" y="353711"/>
                  </a:lnTo>
                  <a:lnTo>
                    <a:pt x="104980" y="353519"/>
                  </a:lnTo>
                  <a:lnTo>
                    <a:pt x="98590" y="350017"/>
                  </a:lnTo>
                  <a:lnTo>
                    <a:pt x="95581" y="352136"/>
                  </a:lnTo>
                  <a:lnTo>
                    <a:pt x="88531" y="345411"/>
                  </a:lnTo>
                  <a:lnTo>
                    <a:pt x="89755" y="338461"/>
                  </a:lnTo>
                  <a:lnTo>
                    <a:pt x="86870" y="335737"/>
                  </a:lnTo>
                  <a:lnTo>
                    <a:pt x="81953" y="338034"/>
                  </a:lnTo>
                  <a:lnTo>
                    <a:pt x="82854" y="330435"/>
                  </a:lnTo>
                  <a:lnTo>
                    <a:pt x="87586" y="324419"/>
                  </a:lnTo>
                  <a:lnTo>
                    <a:pt x="78127" y="314621"/>
                  </a:lnTo>
                  <a:lnTo>
                    <a:pt x="75376" y="308166"/>
                  </a:lnTo>
                  <a:lnTo>
                    <a:pt x="70247" y="303020"/>
                  </a:lnTo>
                  <a:lnTo>
                    <a:pt x="65627" y="302405"/>
                  </a:lnTo>
                  <a:lnTo>
                    <a:pt x="60080" y="305686"/>
                  </a:lnTo>
                  <a:lnTo>
                    <a:pt x="52623" y="308818"/>
                  </a:lnTo>
                  <a:lnTo>
                    <a:pt x="46293" y="313884"/>
                  </a:lnTo>
                  <a:lnTo>
                    <a:pt x="36414" y="312014"/>
                  </a:lnTo>
                  <a:lnTo>
                    <a:pt x="30005" y="306069"/>
                  </a:lnTo>
                  <a:lnTo>
                    <a:pt x="26180" y="305288"/>
                  </a:lnTo>
                  <a:lnTo>
                    <a:pt x="20155" y="308409"/>
                  </a:lnTo>
                  <a:lnTo>
                    <a:pt x="16495" y="308435"/>
                  </a:lnTo>
                  <a:lnTo>
                    <a:pt x="15161" y="299858"/>
                  </a:lnTo>
                  <a:lnTo>
                    <a:pt x="16224" y="292555"/>
                  </a:lnTo>
                  <a:lnTo>
                    <a:pt x="14250" y="283481"/>
                  </a:lnTo>
                  <a:lnTo>
                    <a:pt x="5610" y="276885"/>
                  </a:lnTo>
                  <a:lnTo>
                    <a:pt x="1059" y="26342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Freeform 113"/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6491292" y="3856137"/>
              <a:ext cx="204901" cy="441817"/>
            </a:xfrm>
            <a:custGeom>
              <a:avLst/>
              <a:gdLst/>
              <a:ahLst/>
              <a:cxnLst/>
              <a:rect l="0" t="0" r="0" b="0"/>
              <a:pathLst>
                <a:path w="204901" h="441817">
                  <a:moveTo>
                    <a:pt x="167120" y="199578"/>
                  </a:moveTo>
                  <a:lnTo>
                    <a:pt x="153649" y="209989"/>
                  </a:lnTo>
                  <a:lnTo>
                    <a:pt x="137353" y="211063"/>
                  </a:lnTo>
                  <a:lnTo>
                    <a:pt x="126829" y="236940"/>
                  </a:lnTo>
                  <a:lnTo>
                    <a:pt x="117091" y="241277"/>
                  </a:lnTo>
                  <a:lnTo>
                    <a:pt x="128245" y="262190"/>
                  </a:lnTo>
                  <a:lnTo>
                    <a:pt x="142894" y="279541"/>
                  </a:lnTo>
                  <a:lnTo>
                    <a:pt x="152348" y="295189"/>
                  </a:lnTo>
                  <a:lnTo>
                    <a:pt x="143901" y="315751"/>
                  </a:lnTo>
                  <a:lnTo>
                    <a:pt x="135931" y="320114"/>
                  </a:lnTo>
                  <a:lnTo>
                    <a:pt x="141441" y="331948"/>
                  </a:lnTo>
                  <a:lnTo>
                    <a:pt x="156836" y="350656"/>
                  </a:lnTo>
                  <a:lnTo>
                    <a:pt x="159473" y="363775"/>
                  </a:lnTo>
                  <a:lnTo>
                    <a:pt x="159111" y="374678"/>
                  </a:lnTo>
                  <a:lnTo>
                    <a:pt x="168136" y="396046"/>
                  </a:lnTo>
                  <a:lnTo>
                    <a:pt x="155460" y="417842"/>
                  </a:lnTo>
                  <a:lnTo>
                    <a:pt x="144274" y="441816"/>
                  </a:lnTo>
                  <a:lnTo>
                    <a:pt x="142050" y="424502"/>
                  </a:lnTo>
                  <a:lnTo>
                    <a:pt x="149145" y="406607"/>
                  </a:lnTo>
                  <a:lnTo>
                    <a:pt x="141384" y="392764"/>
                  </a:lnTo>
                  <a:lnTo>
                    <a:pt x="143259" y="367225"/>
                  </a:lnTo>
                  <a:lnTo>
                    <a:pt x="133888" y="355054"/>
                  </a:lnTo>
                  <a:lnTo>
                    <a:pt x="126366" y="326873"/>
                  </a:lnTo>
                  <a:lnTo>
                    <a:pt x="122196" y="297019"/>
                  </a:lnTo>
                  <a:lnTo>
                    <a:pt x="112212" y="277383"/>
                  </a:lnTo>
                  <a:lnTo>
                    <a:pt x="97006" y="289280"/>
                  </a:lnTo>
                  <a:lnTo>
                    <a:pt x="70774" y="306157"/>
                  </a:lnTo>
                  <a:lnTo>
                    <a:pt x="57826" y="304051"/>
                  </a:lnTo>
                  <a:lnTo>
                    <a:pt x="43524" y="298502"/>
                  </a:lnTo>
                  <a:lnTo>
                    <a:pt x="51480" y="269103"/>
                  </a:lnTo>
                  <a:lnTo>
                    <a:pt x="46664" y="246811"/>
                  </a:lnTo>
                  <a:lnTo>
                    <a:pt x="28571" y="219253"/>
                  </a:lnTo>
                  <a:lnTo>
                    <a:pt x="31393" y="210613"/>
                  </a:lnTo>
                  <a:lnTo>
                    <a:pt x="17891" y="207538"/>
                  </a:lnTo>
                  <a:lnTo>
                    <a:pt x="1508" y="187929"/>
                  </a:lnTo>
                  <a:lnTo>
                    <a:pt x="0" y="168522"/>
                  </a:lnTo>
                  <a:lnTo>
                    <a:pt x="8057" y="172180"/>
                  </a:lnTo>
                  <a:lnTo>
                    <a:pt x="8529" y="154836"/>
                  </a:lnTo>
                  <a:lnTo>
                    <a:pt x="19918" y="149088"/>
                  </a:lnTo>
                  <a:lnTo>
                    <a:pt x="17475" y="138781"/>
                  </a:lnTo>
                  <a:lnTo>
                    <a:pt x="22693" y="130502"/>
                  </a:lnTo>
                  <a:lnTo>
                    <a:pt x="23589" y="105260"/>
                  </a:lnTo>
                  <a:lnTo>
                    <a:pt x="41630" y="110827"/>
                  </a:lnTo>
                  <a:lnTo>
                    <a:pt x="51923" y="90648"/>
                  </a:lnTo>
                  <a:lnTo>
                    <a:pt x="53091" y="78684"/>
                  </a:lnTo>
                  <a:lnTo>
                    <a:pt x="65830" y="58018"/>
                  </a:lnTo>
                  <a:lnTo>
                    <a:pt x="65129" y="43866"/>
                  </a:lnTo>
                  <a:lnTo>
                    <a:pt x="95011" y="26718"/>
                  </a:lnTo>
                  <a:lnTo>
                    <a:pt x="111507" y="31211"/>
                  </a:lnTo>
                  <a:lnTo>
                    <a:pt x="109614" y="15903"/>
                  </a:lnTo>
                  <a:lnTo>
                    <a:pt x="117706" y="11328"/>
                  </a:lnTo>
                  <a:lnTo>
                    <a:pt x="115964" y="1860"/>
                  </a:lnTo>
                  <a:lnTo>
                    <a:pt x="129465" y="0"/>
                  </a:lnTo>
                  <a:lnTo>
                    <a:pt x="137180" y="14702"/>
                  </a:lnTo>
                  <a:lnTo>
                    <a:pt x="147256" y="20642"/>
                  </a:lnTo>
                  <a:lnTo>
                    <a:pt x="147934" y="39654"/>
                  </a:lnTo>
                  <a:lnTo>
                    <a:pt x="147004" y="60057"/>
                  </a:lnTo>
                  <a:lnTo>
                    <a:pt x="125140" y="80623"/>
                  </a:lnTo>
                  <a:lnTo>
                    <a:pt x="122373" y="109687"/>
                  </a:lnTo>
                  <a:lnTo>
                    <a:pt x="146738" y="105633"/>
                  </a:lnTo>
                  <a:lnTo>
                    <a:pt x="152242" y="128091"/>
                  </a:lnTo>
                  <a:lnTo>
                    <a:pt x="166859" y="132804"/>
                  </a:lnTo>
                  <a:lnTo>
                    <a:pt x="160140" y="152969"/>
                  </a:lnTo>
                  <a:lnTo>
                    <a:pt x="177281" y="162056"/>
                  </a:lnTo>
                  <a:lnTo>
                    <a:pt x="187277" y="166508"/>
                  </a:lnTo>
                  <a:lnTo>
                    <a:pt x="204208" y="159466"/>
                  </a:lnTo>
                  <a:lnTo>
                    <a:pt x="204900" y="169462"/>
                  </a:lnTo>
                  <a:lnTo>
                    <a:pt x="185259" y="185153"/>
                  </a:lnTo>
                  <a:lnTo>
                    <a:pt x="180340" y="19401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Freeform 114"/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786562" y="3455083"/>
              <a:ext cx="43622" cy="45928"/>
            </a:xfrm>
            <a:custGeom>
              <a:avLst/>
              <a:gdLst/>
              <a:ahLst/>
              <a:cxnLst/>
              <a:rect l="0" t="0" r="0" b="0"/>
              <a:pathLst>
                <a:path w="43622" h="45928">
                  <a:moveTo>
                    <a:pt x="31199" y="28644"/>
                  </a:moveTo>
                  <a:lnTo>
                    <a:pt x="29732" y="23400"/>
                  </a:lnTo>
                  <a:lnTo>
                    <a:pt x="19724" y="37106"/>
                  </a:lnTo>
                  <a:lnTo>
                    <a:pt x="21277" y="45927"/>
                  </a:lnTo>
                  <a:lnTo>
                    <a:pt x="16445" y="43781"/>
                  </a:lnTo>
                  <a:lnTo>
                    <a:pt x="9975" y="34723"/>
                  </a:lnTo>
                  <a:lnTo>
                    <a:pt x="0" y="29203"/>
                  </a:lnTo>
                  <a:lnTo>
                    <a:pt x="2539" y="24467"/>
                  </a:lnTo>
                  <a:lnTo>
                    <a:pt x="5920" y="9088"/>
                  </a:lnTo>
                  <a:lnTo>
                    <a:pt x="13426" y="2567"/>
                  </a:lnTo>
                  <a:lnTo>
                    <a:pt x="17739" y="0"/>
                  </a:lnTo>
                  <a:lnTo>
                    <a:pt x="23865" y="4820"/>
                  </a:lnTo>
                  <a:lnTo>
                    <a:pt x="27237" y="8705"/>
                  </a:lnTo>
                  <a:lnTo>
                    <a:pt x="34822" y="11724"/>
                  </a:lnTo>
                  <a:lnTo>
                    <a:pt x="43621" y="17529"/>
                  </a:lnTo>
                  <a:lnTo>
                    <a:pt x="41724" y="19925"/>
                  </a:lnTo>
                  <a:lnTo>
                    <a:pt x="37410" y="2617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 115"/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6386221" y="3204295"/>
              <a:ext cx="739144" cy="304460"/>
            </a:xfrm>
            <a:custGeom>
              <a:avLst/>
              <a:gdLst/>
              <a:ahLst/>
              <a:cxnLst/>
              <a:rect l="0" t="0" r="0" b="0"/>
              <a:pathLst>
                <a:path w="739144" h="304460">
                  <a:moveTo>
                    <a:pt x="0" y="83543"/>
                  </a:moveTo>
                  <a:lnTo>
                    <a:pt x="24336" y="78358"/>
                  </a:lnTo>
                  <a:lnTo>
                    <a:pt x="68380" y="52435"/>
                  </a:lnTo>
                  <a:lnTo>
                    <a:pt x="103489" y="38166"/>
                  </a:lnTo>
                  <a:lnTo>
                    <a:pt x="123560" y="47485"/>
                  </a:lnTo>
                  <a:lnTo>
                    <a:pt x="147643" y="47932"/>
                  </a:lnTo>
                  <a:lnTo>
                    <a:pt x="163071" y="62048"/>
                  </a:lnTo>
                  <a:lnTo>
                    <a:pt x="186110" y="63132"/>
                  </a:lnTo>
                  <a:lnTo>
                    <a:pt x="219480" y="70694"/>
                  </a:lnTo>
                  <a:lnTo>
                    <a:pt x="241917" y="49693"/>
                  </a:lnTo>
                  <a:lnTo>
                    <a:pt x="232546" y="31806"/>
                  </a:lnTo>
                  <a:lnTo>
                    <a:pt x="256453" y="0"/>
                  </a:lnTo>
                  <a:lnTo>
                    <a:pt x="282311" y="12734"/>
                  </a:lnTo>
                  <a:lnTo>
                    <a:pt x="303264" y="16332"/>
                  </a:lnTo>
                  <a:lnTo>
                    <a:pt x="330404" y="24203"/>
                  </a:lnTo>
                  <a:lnTo>
                    <a:pt x="334805" y="47022"/>
                  </a:lnTo>
                  <a:lnTo>
                    <a:pt x="367598" y="59740"/>
                  </a:lnTo>
                  <a:lnTo>
                    <a:pt x="389411" y="54143"/>
                  </a:lnTo>
                  <a:lnTo>
                    <a:pt x="418612" y="50189"/>
                  </a:lnTo>
                  <a:lnTo>
                    <a:pt x="441745" y="54174"/>
                  </a:lnTo>
                  <a:lnTo>
                    <a:pt x="464352" y="68661"/>
                  </a:lnTo>
                  <a:lnTo>
                    <a:pt x="478362" y="83981"/>
                  </a:lnTo>
                  <a:lnTo>
                    <a:pt x="499767" y="83670"/>
                  </a:lnTo>
                  <a:lnTo>
                    <a:pt x="528841" y="88532"/>
                  </a:lnTo>
                  <a:lnTo>
                    <a:pt x="550059" y="81128"/>
                  </a:lnTo>
                  <a:lnTo>
                    <a:pt x="580448" y="76169"/>
                  </a:lnTo>
                  <a:lnTo>
                    <a:pt x="614257" y="54960"/>
                  </a:lnTo>
                  <a:lnTo>
                    <a:pt x="628099" y="58223"/>
                  </a:lnTo>
                  <a:lnTo>
                    <a:pt x="640184" y="68316"/>
                  </a:lnTo>
                  <a:lnTo>
                    <a:pt x="667724" y="65809"/>
                  </a:lnTo>
                  <a:lnTo>
                    <a:pt x="656483" y="88398"/>
                  </a:lnTo>
                  <a:lnTo>
                    <a:pt x="640175" y="118039"/>
                  </a:lnTo>
                  <a:lnTo>
                    <a:pt x="646120" y="130072"/>
                  </a:lnTo>
                  <a:lnTo>
                    <a:pt x="659188" y="126344"/>
                  </a:lnTo>
                  <a:lnTo>
                    <a:pt x="681960" y="130918"/>
                  </a:lnTo>
                  <a:lnTo>
                    <a:pt x="699702" y="120063"/>
                  </a:lnTo>
                  <a:lnTo>
                    <a:pt x="718224" y="129469"/>
                  </a:lnTo>
                  <a:lnTo>
                    <a:pt x="739143" y="149922"/>
                  </a:lnTo>
                  <a:lnTo>
                    <a:pt x="736614" y="160261"/>
                  </a:lnTo>
                  <a:lnTo>
                    <a:pt x="718403" y="156985"/>
                  </a:lnTo>
                  <a:lnTo>
                    <a:pt x="684872" y="160840"/>
                  </a:lnTo>
                  <a:lnTo>
                    <a:pt x="668626" y="169088"/>
                  </a:lnTo>
                  <a:lnTo>
                    <a:pt x="651712" y="188154"/>
                  </a:lnTo>
                  <a:lnTo>
                    <a:pt x="616517" y="199268"/>
                  </a:lnTo>
                  <a:lnTo>
                    <a:pt x="593516" y="214428"/>
                  </a:lnTo>
                  <a:lnTo>
                    <a:pt x="569791" y="208648"/>
                  </a:lnTo>
                  <a:lnTo>
                    <a:pt x="556801" y="206066"/>
                  </a:lnTo>
                  <a:lnTo>
                    <a:pt x="544684" y="224418"/>
                  </a:lnTo>
                  <a:lnTo>
                    <a:pt x="552055" y="235301"/>
                  </a:lnTo>
                  <a:lnTo>
                    <a:pt x="555792" y="244617"/>
                  </a:lnTo>
                  <a:lnTo>
                    <a:pt x="539636" y="254076"/>
                  </a:lnTo>
                  <a:lnTo>
                    <a:pt x="523072" y="269080"/>
                  </a:lnTo>
                  <a:lnTo>
                    <a:pt x="496100" y="278893"/>
                  </a:lnTo>
                  <a:lnTo>
                    <a:pt x="461503" y="279949"/>
                  </a:lnTo>
                  <a:lnTo>
                    <a:pt x="424214" y="289598"/>
                  </a:lnTo>
                  <a:lnTo>
                    <a:pt x="397339" y="304459"/>
                  </a:lnTo>
                  <a:lnTo>
                    <a:pt x="387120" y="295862"/>
                  </a:lnTo>
                  <a:lnTo>
                    <a:pt x="359189" y="295886"/>
                  </a:lnTo>
                  <a:lnTo>
                    <a:pt x="325045" y="279020"/>
                  </a:lnTo>
                  <a:lnTo>
                    <a:pt x="302258" y="274870"/>
                  </a:lnTo>
                  <a:lnTo>
                    <a:pt x="271557" y="278747"/>
                  </a:lnTo>
                  <a:lnTo>
                    <a:pt x="223913" y="272496"/>
                  </a:lnTo>
                  <a:lnTo>
                    <a:pt x="198467" y="273145"/>
                  </a:lnTo>
                  <a:lnTo>
                    <a:pt x="184919" y="256529"/>
                  </a:lnTo>
                  <a:lnTo>
                    <a:pt x="174403" y="230544"/>
                  </a:lnTo>
                  <a:lnTo>
                    <a:pt x="160139" y="227399"/>
                  </a:lnTo>
                  <a:lnTo>
                    <a:pt x="132251" y="209680"/>
                  </a:lnTo>
                  <a:lnTo>
                    <a:pt x="101162" y="205695"/>
                  </a:lnTo>
                  <a:lnTo>
                    <a:pt x="73732" y="200806"/>
                  </a:lnTo>
                  <a:lnTo>
                    <a:pt x="65427" y="188370"/>
                  </a:lnTo>
                  <a:lnTo>
                    <a:pt x="74315" y="154579"/>
                  </a:lnTo>
                  <a:lnTo>
                    <a:pt x="58388" y="131040"/>
                  </a:lnTo>
                  <a:lnTo>
                    <a:pt x="25461" y="119994"/>
                  </a:lnTo>
                  <a:lnTo>
                    <a:pt x="6060" y="10431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Freeform 116"/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5057310" y="4766945"/>
              <a:ext cx="244584" cy="393173"/>
            </a:xfrm>
            <a:custGeom>
              <a:avLst/>
              <a:gdLst/>
              <a:ahLst/>
              <a:cxnLst/>
              <a:rect l="0" t="0" r="0" b="0"/>
              <a:pathLst>
                <a:path w="244584" h="393173">
                  <a:moveTo>
                    <a:pt x="101114" y="28093"/>
                  </a:moveTo>
                  <a:lnTo>
                    <a:pt x="118481" y="26202"/>
                  </a:lnTo>
                  <a:lnTo>
                    <a:pt x="146219" y="32792"/>
                  </a:lnTo>
                  <a:lnTo>
                    <a:pt x="152245" y="29835"/>
                  </a:lnTo>
                  <a:lnTo>
                    <a:pt x="168314" y="29232"/>
                  </a:lnTo>
                  <a:lnTo>
                    <a:pt x="176540" y="22219"/>
                  </a:lnTo>
                  <a:lnTo>
                    <a:pt x="190387" y="22603"/>
                  </a:lnTo>
                  <a:lnTo>
                    <a:pt x="215627" y="13530"/>
                  </a:lnTo>
                  <a:lnTo>
                    <a:pt x="233991" y="0"/>
                  </a:lnTo>
                  <a:lnTo>
                    <a:pt x="237726" y="10462"/>
                  </a:lnTo>
                  <a:lnTo>
                    <a:pt x="236777" y="33746"/>
                  </a:lnTo>
                  <a:lnTo>
                    <a:pt x="239628" y="54298"/>
                  </a:lnTo>
                  <a:lnTo>
                    <a:pt x="240524" y="91015"/>
                  </a:lnTo>
                  <a:lnTo>
                    <a:pt x="244583" y="102555"/>
                  </a:lnTo>
                  <a:lnTo>
                    <a:pt x="237700" y="119419"/>
                  </a:lnTo>
                  <a:lnTo>
                    <a:pt x="228744" y="135845"/>
                  </a:lnTo>
                  <a:lnTo>
                    <a:pt x="214047" y="150543"/>
                  </a:lnTo>
                  <a:lnTo>
                    <a:pt x="192945" y="159568"/>
                  </a:lnTo>
                  <a:lnTo>
                    <a:pt x="166925" y="171108"/>
                  </a:lnTo>
                  <a:lnTo>
                    <a:pt x="140846" y="196698"/>
                  </a:lnTo>
                  <a:lnTo>
                    <a:pt x="131964" y="201061"/>
                  </a:lnTo>
                  <a:lnTo>
                    <a:pt x="115850" y="218070"/>
                  </a:lnTo>
                  <a:lnTo>
                    <a:pt x="106339" y="223615"/>
                  </a:lnTo>
                  <a:lnTo>
                    <a:pt x="104389" y="240746"/>
                  </a:lnTo>
                  <a:lnTo>
                    <a:pt x="115336" y="258997"/>
                  </a:lnTo>
                  <a:lnTo>
                    <a:pt x="119890" y="273171"/>
                  </a:lnTo>
                  <a:lnTo>
                    <a:pt x="120177" y="280416"/>
                  </a:lnTo>
                  <a:lnTo>
                    <a:pt x="124255" y="279204"/>
                  </a:lnTo>
                  <a:lnTo>
                    <a:pt x="123595" y="303017"/>
                  </a:lnTo>
                  <a:lnTo>
                    <a:pt x="119852" y="314335"/>
                  </a:lnTo>
                  <a:lnTo>
                    <a:pt x="125292" y="318512"/>
                  </a:lnTo>
                  <a:lnTo>
                    <a:pt x="121859" y="328677"/>
                  </a:lnTo>
                  <a:lnTo>
                    <a:pt x="112211" y="337385"/>
                  </a:lnTo>
                  <a:lnTo>
                    <a:pt x="93169" y="345672"/>
                  </a:lnTo>
                  <a:lnTo>
                    <a:pt x="65410" y="358973"/>
                  </a:lnTo>
                  <a:lnTo>
                    <a:pt x="55286" y="368081"/>
                  </a:lnTo>
                  <a:lnTo>
                    <a:pt x="57265" y="378479"/>
                  </a:lnTo>
                  <a:lnTo>
                    <a:pt x="63165" y="380142"/>
                  </a:lnTo>
                  <a:lnTo>
                    <a:pt x="61183" y="393172"/>
                  </a:lnTo>
                  <a:lnTo>
                    <a:pt x="43676" y="392964"/>
                  </a:lnTo>
                  <a:lnTo>
                    <a:pt x="41694" y="382019"/>
                  </a:lnTo>
                  <a:lnTo>
                    <a:pt x="38277" y="370942"/>
                  </a:lnTo>
                  <a:lnTo>
                    <a:pt x="36307" y="362092"/>
                  </a:lnTo>
                  <a:lnTo>
                    <a:pt x="40420" y="334716"/>
                  </a:lnTo>
                  <a:lnTo>
                    <a:pt x="34414" y="317350"/>
                  </a:lnTo>
                  <a:lnTo>
                    <a:pt x="23358" y="283118"/>
                  </a:lnTo>
                  <a:lnTo>
                    <a:pt x="47677" y="255670"/>
                  </a:lnTo>
                  <a:lnTo>
                    <a:pt x="53764" y="238299"/>
                  </a:lnTo>
                  <a:lnTo>
                    <a:pt x="57251" y="236110"/>
                  </a:lnTo>
                  <a:lnTo>
                    <a:pt x="59858" y="221973"/>
                  </a:lnTo>
                  <a:lnTo>
                    <a:pt x="56148" y="214873"/>
                  </a:lnTo>
                  <a:lnTo>
                    <a:pt x="57139" y="196995"/>
                  </a:lnTo>
                  <a:lnTo>
                    <a:pt x="61639" y="180459"/>
                  </a:lnTo>
                  <a:lnTo>
                    <a:pt x="61588" y="150366"/>
                  </a:lnTo>
                  <a:lnTo>
                    <a:pt x="49599" y="142746"/>
                  </a:lnTo>
                  <a:lnTo>
                    <a:pt x="38607" y="141024"/>
                  </a:lnTo>
                  <a:lnTo>
                    <a:pt x="33632" y="135164"/>
                  </a:lnTo>
                  <a:lnTo>
                    <a:pt x="22934" y="130168"/>
                  </a:lnTo>
                  <a:lnTo>
                    <a:pt x="3681" y="130639"/>
                  </a:lnTo>
                  <a:lnTo>
                    <a:pt x="2187" y="121817"/>
                  </a:lnTo>
                  <a:lnTo>
                    <a:pt x="0" y="105015"/>
                  </a:lnTo>
                  <a:lnTo>
                    <a:pt x="70045" y="85599"/>
                  </a:lnTo>
                  <a:lnTo>
                    <a:pt x="83333" y="96900"/>
                  </a:lnTo>
                  <a:lnTo>
                    <a:pt x="89684" y="94735"/>
                  </a:lnTo>
                  <a:lnTo>
                    <a:pt x="98797" y="100698"/>
                  </a:lnTo>
                  <a:lnTo>
                    <a:pt x="100136" y="110149"/>
                  </a:lnTo>
                  <a:lnTo>
                    <a:pt x="95281" y="121128"/>
                  </a:lnTo>
                  <a:lnTo>
                    <a:pt x="96989" y="137806"/>
                  </a:lnTo>
                  <a:lnTo>
                    <a:pt x="112050" y="152451"/>
                  </a:lnTo>
                  <a:lnTo>
                    <a:pt x="119097" y="136003"/>
                  </a:lnTo>
                  <a:lnTo>
                    <a:pt x="129088" y="131018"/>
                  </a:lnTo>
                  <a:lnTo>
                    <a:pt x="127124" y="100652"/>
                  </a:lnTo>
                  <a:lnTo>
                    <a:pt x="117455" y="83622"/>
                  </a:lnTo>
                  <a:lnTo>
                    <a:pt x="109127" y="76041"/>
                  </a:lnTo>
                  <a:lnTo>
                    <a:pt x="101114" y="76384"/>
                  </a:lnTo>
                  <a:lnTo>
                    <a:pt x="94651" y="4588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Freeform 117"/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3966817" y="3879593"/>
              <a:ext cx="280227" cy="308616"/>
            </a:xfrm>
            <a:custGeom>
              <a:avLst/>
              <a:gdLst/>
              <a:ahLst/>
              <a:cxnLst/>
              <a:rect l="0" t="0" r="0" b="0"/>
              <a:pathLst>
                <a:path w="280227" h="308616">
                  <a:moveTo>
                    <a:pt x="112936" y="308615"/>
                  </a:moveTo>
                  <a:lnTo>
                    <a:pt x="97704" y="292408"/>
                  </a:lnTo>
                  <a:lnTo>
                    <a:pt x="83737" y="275012"/>
                  </a:lnTo>
                  <a:lnTo>
                    <a:pt x="68415" y="268737"/>
                  </a:lnTo>
                  <a:lnTo>
                    <a:pt x="57385" y="261769"/>
                  </a:lnTo>
                  <a:lnTo>
                    <a:pt x="44496" y="262029"/>
                  </a:lnTo>
                  <a:lnTo>
                    <a:pt x="33233" y="267196"/>
                  </a:lnTo>
                  <a:lnTo>
                    <a:pt x="21761" y="265150"/>
                  </a:lnTo>
                  <a:lnTo>
                    <a:pt x="13857" y="272747"/>
                  </a:lnTo>
                  <a:lnTo>
                    <a:pt x="11858" y="259975"/>
                  </a:lnTo>
                  <a:lnTo>
                    <a:pt x="18302" y="248268"/>
                  </a:lnTo>
                  <a:lnTo>
                    <a:pt x="21169" y="225859"/>
                  </a:lnTo>
                  <a:lnTo>
                    <a:pt x="18617" y="202256"/>
                  </a:lnTo>
                  <a:lnTo>
                    <a:pt x="15829" y="190350"/>
                  </a:lnTo>
                  <a:lnTo>
                    <a:pt x="18134" y="178382"/>
                  </a:lnTo>
                  <a:lnTo>
                    <a:pt x="12167" y="166953"/>
                  </a:lnTo>
                  <a:lnTo>
                    <a:pt x="0" y="156548"/>
                  </a:lnTo>
                  <a:lnTo>
                    <a:pt x="5037" y="148500"/>
                  </a:lnTo>
                  <a:lnTo>
                    <a:pt x="95431" y="148651"/>
                  </a:lnTo>
                  <a:lnTo>
                    <a:pt x="91054" y="113671"/>
                  </a:lnTo>
                  <a:lnTo>
                    <a:pt x="96698" y="101174"/>
                  </a:lnTo>
                  <a:lnTo>
                    <a:pt x="118326" y="98987"/>
                  </a:lnTo>
                  <a:lnTo>
                    <a:pt x="117583" y="36239"/>
                  </a:lnTo>
                  <a:lnTo>
                    <a:pt x="193343" y="37530"/>
                  </a:lnTo>
                  <a:lnTo>
                    <a:pt x="193410" y="0"/>
                  </a:lnTo>
                  <a:lnTo>
                    <a:pt x="280226" y="59846"/>
                  </a:lnTo>
                  <a:lnTo>
                    <a:pt x="244899" y="60288"/>
                  </a:lnTo>
                  <a:lnTo>
                    <a:pt x="256040" y="165196"/>
                  </a:lnTo>
                  <a:lnTo>
                    <a:pt x="267180" y="268245"/>
                  </a:lnTo>
                  <a:lnTo>
                    <a:pt x="271179" y="271164"/>
                  </a:lnTo>
                  <a:lnTo>
                    <a:pt x="266044" y="287730"/>
                  </a:lnTo>
                  <a:lnTo>
                    <a:pt x="173424" y="288089"/>
                  </a:lnTo>
                  <a:lnTo>
                    <a:pt x="169962" y="293343"/>
                  </a:lnTo>
                  <a:lnTo>
                    <a:pt x="161038" y="291775"/>
                  </a:lnTo>
                  <a:lnTo>
                    <a:pt x="148021" y="296445"/>
                  </a:lnTo>
                  <a:lnTo>
                    <a:pt x="131902" y="289867"/>
                  </a:lnTo>
                  <a:lnTo>
                    <a:pt x="124585" y="290412"/>
                  </a:lnTo>
                  <a:lnTo>
                    <a:pt x="120704" y="30431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 118"/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5115217" y="4741630"/>
              <a:ext cx="71182" cy="177767"/>
            </a:xfrm>
            <a:custGeom>
              <a:avLst/>
              <a:gdLst/>
              <a:ahLst/>
              <a:cxnLst/>
              <a:rect l="0" t="0" r="0" b="0"/>
              <a:pathLst>
                <a:path w="71182" h="177767">
                  <a:moveTo>
                    <a:pt x="43207" y="53408"/>
                  </a:moveTo>
                  <a:lnTo>
                    <a:pt x="36744" y="71196"/>
                  </a:lnTo>
                  <a:lnTo>
                    <a:pt x="43207" y="101699"/>
                  </a:lnTo>
                  <a:lnTo>
                    <a:pt x="51220" y="101356"/>
                  </a:lnTo>
                  <a:lnTo>
                    <a:pt x="59548" y="108937"/>
                  </a:lnTo>
                  <a:lnTo>
                    <a:pt x="69217" y="125967"/>
                  </a:lnTo>
                  <a:lnTo>
                    <a:pt x="71181" y="156333"/>
                  </a:lnTo>
                  <a:lnTo>
                    <a:pt x="61190" y="161318"/>
                  </a:lnTo>
                  <a:lnTo>
                    <a:pt x="54143" y="177766"/>
                  </a:lnTo>
                  <a:lnTo>
                    <a:pt x="39082" y="163121"/>
                  </a:lnTo>
                  <a:lnTo>
                    <a:pt x="37374" y="146443"/>
                  </a:lnTo>
                  <a:lnTo>
                    <a:pt x="42229" y="135464"/>
                  </a:lnTo>
                  <a:lnTo>
                    <a:pt x="40890" y="126013"/>
                  </a:lnTo>
                  <a:lnTo>
                    <a:pt x="31777" y="120050"/>
                  </a:lnTo>
                  <a:lnTo>
                    <a:pt x="25426" y="122215"/>
                  </a:lnTo>
                  <a:lnTo>
                    <a:pt x="12138" y="110914"/>
                  </a:lnTo>
                  <a:lnTo>
                    <a:pt x="0" y="104822"/>
                  </a:lnTo>
                  <a:lnTo>
                    <a:pt x="7008" y="83006"/>
                  </a:lnTo>
                  <a:lnTo>
                    <a:pt x="14271" y="74845"/>
                  </a:lnTo>
                  <a:lnTo>
                    <a:pt x="9836" y="55447"/>
                  </a:lnTo>
                  <a:lnTo>
                    <a:pt x="14476" y="36503"/>
                  </a:lnTo>
                  <a:lnTo>
                    <a:pt x="18409" y="30178"/>
                  </a:lnTo>
                  <a:lnTo>
                    <a:pt x="12539" y="10388"/>
                  </a:lnTo>
                  <a:lnTo>
                    <a:pt x="1644" y="0"/>
                  </a:lnTo>
                  <a:lnTo>
                    <a:pt x="24273" y="4343"/>
                  </a:lnTo>
                  <a:lnTo>
                    <a:pt x="28915" y="10783"/>
                  </a:lnTo>
                  <a:lnTo>
                    <a:pt x="36744" y="2165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 119"/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6670933" y="4367803"/>
              <a:ext cx="440791" cy="142321"/>
            </a:xfrm>
            <a:custGeom>
              <a:avLst/>
              <a:gdLst/>
              <a:ahLst/>
              <a:cxnLst/>
              <a:rect l="l" t="t" r="r" b="b"/>
              <a:pathLst>
                <a:path w="440791" h="142321">
                  <a:moveTo>
                    <a:pt x="4013" y="6613"/>
                  </a:moveTo>
                  <a:lnTo>
                    <a:pt x="22847" y="16763"/>
                  </a:lnTo>
                  <a:lnTo>
                    <a:pt x="24664" y="28657"/>
                  </a:lnTo>
                  <a:lnTo>
                    <a:pt x="39899" y="25891"/>
                  </a:lnTo>
                  <a:lnTo>
                    <a:pt x="47445" y="16375"/>
                  </a:lnTo>
                  <a:lnTo>
                    <a:pt x="52753" y="18539"/>
                  </a:lnTo>
                  <a:lnTo>
                    <a:pt x="66385" y="32521"/>
                  </a:lnTo>
                  <a:lnTo>
                    <a:pt x="76068" y="48015"/>
                  </a:lnTo>
                  <a:lnTo>
                    <a:pt x="77392" y="63590"/>
                  </a:lnTo>
                  <a:lnTo>
                    <a:pt x="74935" y="74106"/>
                  </a:lnTo>
                  <a:lnTo>
                    <a:pt x="77181" y="82053"/>
                  </a:lnTo>
                  <a:lnTo>
                    <a:pt x="78867" y="95727"/>
                  </a:lnTo>
                  <a:lnTo>
                    <a:pt x="86997" y="102092"/>
                  </a:lnTo>
                  <a:lnTo>
                    <a:pt x="96075" y="122513"/>
                  </a:lnTo>
                  <a:lnTo>
                    <a:pt x="95634" y="130319"/>
                  </a:lnTo>
                  <a:lnTo>
                    <a:pt x="79265" y="131859"/>
                  </a:lnTo>
                  <a:lnTo>
                    <a:pt x="57427" y="114756"/>
                  </a:lnTo>
                  <a:lnTo>
                    <a:pt x="30121" y="96425"/>
                  </a:lnTo>
                  <a:lnTo>
                    <a:pt x="27418" y="84654"/>
                  </a:lnTo>
                  <a:lnTo>
                    <a:pt x="14074" y="69196"/>
                  </a:lnTo>
                  <a:lnTo>
                    <a:pt x="10888" y="50045"/>
                  </a:lnTo>
                  <a:lnTo>
                    <a:pt x="2562" y="37428"/>
                  </a:lnTo>
                  <a:lnTo>
                    <a:pt x="5091" y="20570"/>
                  </a:lnTo>
                  <a:lnTo>
                    <a:pt x="0" y="10747"/>
                  </a:lnTo>
                  <a:close/>
                  <a:moveTo>
                    <a:pt x="393419" y="0"/>
                  </a:moveTo>
                  <a:lnTo>
                    <a:pt x="405278" y="11728"/>
                  </a:lnTo>
                  <a:lnTo>
                    <a:pt x="406333" y="21799"/>
                  </a:lnTo>
                  <a:lnTo>
                    <a:pt x="421535" y="28256"/>
                  </a:lnTo>
                  <a:lnTo>
                    <a:pt x="440791" y="35222"/>
                  </a:lnTo>
                  <a:lnTo>
                    <a:pt x="439147" y="44287"/>
                  </a:lnTo>
                  <a:lnTo>
                    <a:pt x="423660" y="45435"/>
                  </a:lnTo>
                  <a:lnTo>
                    <a:pt x="427782" y="56731"/>
                  </a:lnTo>
                  <a:lnTo>
                    <a:pt x="410786" y="64609"/>
                  </a:lnTo>
                  <a:lnTo>
                    <a:pt x="390778" y="60712"/>
                  </a:lnTo>
                  <a:lnTo>
                    <a:pt x="364240" y="60701"/>
                  </a:lnTo>
                  <a:lnTo>
                    <a:pt x="356243" y="86989"/>
                  </a:lnTo>
                  <a:lnTo>
                    <a:pt x="347355" y="95023"/>
                  </a:lnTo>
                  <a:lnTo>
                    <a:pt x="335521" y="127141"/>
                  </a:lnTo>
                  <a:lnTo>
                    <a:pt x="316697" y="132062"/>
                  </a:lnTo>
                  <a:lnTo>
                    <a:pt x="294860" y="125592"/>
                  </a:lnTo>
                  <a:lnTo>
                    <a:pt x="283791" y="127616"/>
                  </a:lnTo>
                  <a:lnTo>
                    <a:pt x="270340" y="139290"/>
                  </a:lnTo>
                  <a:lnTo>
                    <a:pt x="255604" y="137627"/>
                  </a:lnTo>
                  <a:lnTo>
                    <a:pt x="240713" y="142321"/>
                  </a:lnTo>
                  <a:lnTo>
                    <a:pt x="224929" y="129278"/>
                  </a:lnTo>
                  <a:lnTo>
                    <a:pt x="221075" y="113847"/>
                  </a:lnTo>
                  <a:lnTo>
                    <a:pt x="237992" y="121760"/>
                  </a:lnTo>
                  <a:lnTo>
                    <a:pt x="255828" y="117445"/>
                  </a:lnTo>
                  <a:lnTo>
                    <a:pt x="260473" y="97892"/>
                  </a:lnTo>
                  <a:lnTo>
                    <a:pt x="270325" y="93536"/>
                  </a:lnTo>
                  <a:lnTo>
                    <a:pt x="297994" y="88534"/>
                  </a:lnTo>
                  <a:lnTo>
                    <a:pt x="314552" y="70251"/>
                  </a:lnTo>
                  <a:lnTo>
                    <a:pt x="325888" y="55629"/>
                  </a:lnTo>
                  <a:lnTo>
                    <a:pt x="336404" y="67612"/>
                  </a:lnTo>
                  <a:lnTo>
                    <a:pt x="341251" y="59735"/>
                  </a:lnTo>
                  <a:lnTo>
                    <a:pt x="352282" y="60468"/>
                  </a:lnTo>
                  <a:lnTo>
                    <a:pt x="353626" y="45696"/>
                  </a:lnTo>
                  <a:lnTo>
                    <a:pt x="354665" y="34298"/>
                  </a:lnTo>
                  <a:lnTo>
                    <a:pt x="372439" y="18192"/>
                  </a:lnTo>
                  <a:lnTo>
                    <a:pt x="384081" y="7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 120"/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631543" y="4922721"/>
              <a:ext cx="308160" cy="294870"/>
            </a:xfrm>
            <a:custGeom>
              <a:avLst/>
              <a:gdLst/>
              <a:ahLst/>
              <a:cxnLst/>
              <a:rect l="0" t="0" r="0" b="0"/>
              <a:pathLst>
                <a:path w="308160" h="294870">
                  <a:moveTo>
                    <a:pt x="106429" y="283110"/>
                  </a:moveTo>
                  <a:lnTo>
                    <a:pt x="89275" y="264227"/>
                  </a:lnTo>
                  <a:lnTo>
                    <a:pt x="80242" y="246050"/>
                  </a:lnTo>
                  <a:lnTo>
                    <a:pt x="75146" y="221932"/>
                  </a:lnTo>
                  <a:lnTo>
                    <a:pt x="69456" y="204067"/>
                  </a:lnTo>
                  <a:lnTo>
                    <a:pt x="61722" y="166311"/>
                  </a:lnTo>
                  <a:lnTo>
                    <a:pt x="61204" y="137173"/>
                  </a:lnTo>
                  <a:lnTo>
                    <a:pt x="58250" y="123942"/>
                  </a:lnTo>
                  <a:lnTo>
                    <a:pt x="49269" y="113965"/>
                  </a:lnTo>
                  <a:lnTo>
                    <a:pt x="37355" y="94019"/>
                  </a:lnTo>
                  <a:lnTo>
                    <a:pt x="25221" y="65180"/>
                  </a:lnTo>
                  <a:lnTo>
                    <a:pt x="20183" y="50142"/>
                  </a:lnTo>
                  <a:lnTo>
                    <a:pt x="1402" y="26830"/>
                  </a:lnTo>
                  <a:lnTo>
                    <a:pt x="0" y="8566"/>
                  </a:lnTo>
                  <a:lnTo>
                    <a:pt x="11109" y="4045"/>
                  </a:lnTo>
                  <a:lnTo>
                    <a:pt x="24927" y="0"/>
                  </a:lnTo>
                  <a:lnTo>
                    <a:pt x="39891" y="709"/>
                  </a:lnTo>
                  <a:lnTo>
                    <a:pt x="53651" y="11455"/>
                  </a:lnTo>
                  <a:lnTo>
                    <a:pt x="57141" y="9783"/>
                  </a:lnTo>
                  <a:lnTo>
                    <a:pt x="150710" y="8757"/>
                  </a:lnTo>
                  <a:lnTo>
                    <a:pt x="166703" y="20158"/>
                  </a:lnTo>
                  <a:lnTo>
                    <a:pt x="222586" y="23529"/>
                  </a:lnTo>
                  <a:lnTo>
                    <a:pt x="265009" y="13827"/>
                  </a:lnTo>
                  <a:lnTo>
                    <a:pt x="283909" y="8422"/>
                  </a:lnTo>
                  <a:lnTo>
                    <a:pt x="298878" y="9791"/>
                  </a:lnTo>
                  <a:lnTo>
                    <a:pt x="307987" y="15152"/>
                  </a:lnTo>
                  <a:lnTo>
                    <a:pt x="308159" y="17127"/>
                  </a:lnTo>
                  <a:lnTo>
                    <a:pt x="295147" y="22493"/>
                  </a:lnTo>
                  <a:lnTo>
                    <a:pt x="288145" y="22546"/>
                  </a:lnTo>
                  <a:lnTo>
                    <a:pt x="273410" y="31889"/>
                  </a:lnTo>
                  <a:lnTo>
                    <a:pt x="264589" y="22062"/>
                  </a:lnTo>
                  <a:lnTo>
                    <a:pt x="229000" y="30407"/>
                  </a:lnTo>
                  <a:lnTo>
                    <a:pt x="211817" y="31196"/>
                  </a:lnTo>
                  <a:lnTo>
                    <a:pt x="211136" y="116754"/>
                  </a:lnTo>
                  <a:lnTo>
                    <a:pt x="188384" y="117597"/>
                  </a:lnTo>
                  <a:lnTo>
                    <a:pt x="188391" y="188705"/>
                  </a:lnTo>
                  <a:lnTo>
                    <a:pt x="188367" y="280215"/>
                  </a:lnTo>
                  <a:lnTo>
                    <a:pt x="167763" y="293035"/>
                  </a:lnTo>
                  <a:lnTo>
                    <a:pt x="155363" y="294869"/>
                  </a:lnTo>
                  <a:lnTo>
                    <a:pt x="140849" y="290121"/>
                  </a:lnTo>
                  <a:lnTo>
                    <a:pt x="130493" y="288293"/>
                  </a:lnTo>
                  <a:lnTo>
                    <a:pt x="126603" y="277583"/>
                  </a:lnTo>
                  <a:lnTo>
                    <a:pt x="117487" y="27073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 121"/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67511" y="3976214"/>
              <a:ext cx="360266" cy="281413"/>
            </a:xfrm>
            <a:custGeom>
              <a:avLst/>
              <a:gdLst/>
              <a:ahLst/>
              <a:cxnLst/>
              <a:rect l="0" t="0" r="0" b="0"/>
              <a:pathLst>
                <a:path w="360266" h="281413">
                  <a:moveTo>
                    <a:pt x="42907" y="274860"/>
                  </a:moveTo>
                  <a:lnTo>
                    <a:pt x="43429" y="258816"/>
                  </a:lnTo>
                  <a:lnTo>
                    <a:pt x="16814" y="253497"/>
                  </a:lnTo>
                  <a:lnTo>
                    <a:pt x="16098" y="242137"/>
                  </a:lnTo>
                  <a:lnTo>
                    <a:pt x="3099" y="226786"/>
                  </a:lnTo>
                  <a:lnTo>
                    <a:pt x="0" y="216062"/>
                  </a:lnTo>
                  <a:lnTo>
                    <a:pt x="1829" y="204635"/>
                  </a:lnTo>
                  <a:lnTo>
                    <a:pt x="16623" y="203708"/>
                  </a:lnTo>
                  <a:lnTo>
                    <a:pt x="25157" y="195318"/>
                  </a:lnTo>
                  <a:lnTo>
                    <a:pt x="56653" y="193287"/>
                  </a:lnTo>
                  <a:lnTo>
                    <a:pt x="77156" y="189539"/>
                  </a:lnTo>
                  <a:lnTo>
                    <a:pt x="79122" y="174959"/>
                  </a:lnTo>
                  <a:lnTo>
                    <a:pt x="91743" y="159122"/>
                  </a:lnTo>
                  <a:lnTo>
                    <a:pt x="91679" y="104234"/>
                  </a:lnTo>
                  <a:lnTo>
                    <a:pt x="124229" y="93552"/>
                  </a:lnTo>
                  <a:lnTo>
                    <a:pt x="191061" y="46266"/>
                  </a:lnTo>
                  <a:lnTo>
                    <a:pt x="270156" y="0"/>
                  </a:lnTo>
                  <a:lnTo>
                    <a:pt x="306671" y="10502"/>
                  </a:lnTo>
                  <a:lnTo>
                    <a:pt x="319654" y="23848"/>
                  </a:lnTo>
                  <a:lnTo>
                    <a:pt x="335983" y="14820"/>
                  </a:lnTo>
                  <a:lnTo>
                    <a:pt x="341652" y="52478"/>
                  </a:lnTo>
                  <a:lnTo>
                    <a:pt x="350289" y="58753"/>
                  </a:lnTo>
                  <a:lnTo>
                    <a:pt x="350660" y="66418"/>
                  </a:lnTo>
                  <a:lnTo>
                    <a:pt x="360265" y="74668"/>
                  </a:lnTo>
                  <a:lnTo>
                    <a:pt x="355245" y="85011"/>
                  </a:lnTo>
                  <a:lnTo>
                    <a:pt x="346350" y="133541"/>
                  </a:lnTo>
                  <a:lnTo>
                    <a:pt x="345134" y="164459"/>
                  </a:lnTo>
                  <a:lnTo>
                    <a:pt x="315691" y="186790"/>
                  </a:lnTo>
                  <a:lnTo>
                    <a:pt x="305724" y="217878"/>
                  </a:lnTo>
                  <a:lnTo>
                    <a:pt x="315333" y="226599"/>
                  </a:lnTo>
                  <a:lnTo>
                    <a:pt x="315282" y="241722"/>
                  </a:lnTo>
                  <a:lnTo>
                    <a:pt x="330085" y="242263"/>
                  </a:lnTo>
                  <a:lnTo>
                    <a:pt x="327777" y="253319"/>
                  </a:lnTo>
                  <a:lnTo>
                    <a:pt x="321262" y="254665"/>
                  </a:lnTo>
                  <a:lnTo>
                    <a:pt x="320519" y="262130"/>
                  </a:lnTo>
                  <a:lnTo>
                    <a:pt x="316226" y="262648"/>
                  </a:lnTo>
                  <a:lnTo>
                    <a:pt x="300607" y="236954"/>
                  </a:lnTo>
                  <a:lnTo>
                    <a:pt x="295189" y="236019"/>
                  </a:lnTo>
                  <a:lnTo>
                    <a:pt x="277140" y="249147"/>
                  </a:lnTo>
                  <a:lnTo>
                    <a:pt x="259268" y="242296"/>
                  </a:lnTo>
                  <a:lnTo>
                    <a:pt x="246845" y="240926"/>
                  </a:lnTo>
                  <a:lnTo>
                    <a:pt x="240184" y="244224"/>
                  </a:lnTo>
                  <a:lnTo>
                    <a:pt x="226652" y="243511"/>
                  </a:lnTo>
                  <a:lnTo>
                    <a:pt x="213036" y="253514"/>
                  </a:lnTo>
                  <a:lnTo>
                    <a:pt x="201264" y="254087"/>
                  </a:lnTo>
                  <a:lnTo>
                    <a:pt x="173328" y="241955"/>
                  </a:lnTo>
                  <a:lnTo>
                    <a:pt x="162389" y="247719"/>
                  </a:lnTo>
                  <a:lnTo>
                    <a:pt x="150609" y="247319"/>
                  </a:lnTo>
                  <a:lnTo>
                    <a:pt x="141953" y="238449"/>
                  </a:lnTo>
                  <a:lnTo>
                    <a:pt x="118816" y="229675"/>
                  </a:lnTo>
                  <a:lnTo>
                    <a:pt x="94009" y="232461"/>
                  </a:lnTo>
                  <a:lnTo>
                    <a:pt x="87998" y="237545"/>
                  </a:lnTo>
                  <a:lnTo>
                    <a:pt x="84751" y="251050"/>
                  </a:lnTo>
                  <a:lnTo>
                    <a:pt x="78134" y="260507"/>
                  </a:lnTo>
                  <a:lnTo>
                    <a:pt x="76531" y="281412"/>
                  </a:lnTo>
                  <a:lnTo>
                    <a:pt x="58930" y="267941"/>
                  </a:lnTo>
                  <a:lnTo>
                    <a:pt x="50655" y="26800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 122"/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422818" y="4205889"/>
              <a:ext cx="274350" cy="224141"/>
            </a:xfrm>
            <a:custGeom>
              <a:avLst/>
              <a:gdLst/>
              <a:ahLst/>
              <a:cxnLst/>
              <a:rect l="0" t="0" r="0" b="0"/>
              <a:pathLst>
                <a:path w="274350" h="224141">
                  <a:moveTo>
                    <a:pt x="134078" y="211850"/>
                  </a:moveTo>
                  <a:lnTo>
                    <a:pt x="110114" y="220174"/>
                  </a:lnTo>
                  <a:lnTo>
                    <a:pt x="101354" y="218958"/>
                  </a:lnTo>
                  <a:lnTo>
                    <a:pt x="92478" y="224140"/>
                  </a:lnTo>
                  <a:lnTo>
                    <a:pt x="74014" y="223635"/>
                  </a:lnTo>
                  <a:lnTo>
                    <a:pt x="61656" y="209166"/>
                  </a:lnTo>
                  <a:lnTo>
                    <a:pt x="54057" y="192413"/>
                  </a:lnTo>
                  <a:lnTo>
                    <a:pt x="37715" y="177153"/>
                  </a:lnTo>
                  <a:lnTo>
                    <a:pt x="20370" y="177439"/>
                  </a:lnTo>
                  <a:lnTo>
                    <a:pt x="0" y="177427"/>
                  </a:lnTo>
                  <a:lnTo>
                    <a:pt x="1324" y="140037"/>
                  </a:lnTo>
                  <a:lnTo>
                    <a:pt x="741" y="125257"/>
                  </a:lnTo>
                  <a:lnTo>
                    <a:pt x="5092" y="110587"/>
                  </a:lnTo>
                  <a:lnTo>
                    <a:pt x="12203" y="103451"/>
                  </a:lnTo>
                  <a:lnTo>
                    <a:pt x="23400" y="89028"/>
                  </a:lnTo>
                  <a:lnTo>
                    <a:pt x="20968" y="82755"/>
                  </a:lnTo>
                  <a:lnTo>
                    <a:pt x="25516" y="73362"/>
                  </a:lnTo>
                  <a:lnTo>
                    <a:pt x="20325" y="59505"/>
                  </a:lnTo>
                  <a:lnTo>
                    <a:pt x="21224" y="51737"/>
                  </a:lnTo>
                  <a:lnTo>
                    <a:pt x="22827" y="30832"/>
                  </a:lnTo>
                  <a:lnTo>
                    <a:pt x="29444" y="21375"/>
                  </a:lnTo>
                  <a:lnTo>
                    <a:pt x="32691" y="7870"/>
                  </a:lnTo>
                  <a:lnTo>
                    <a:pt x="38702" y="2786"/>
                  </a:lnTo>
                  <a:lnTo>
                    <a:pt x="63509" y="0"/>
                  </a:lnTo>
                  <a:lnTo>
                    <a:pt x="86646" y="8774"/>
                  </a:lnTo>
                  <a:lnTo>
                    <a:pt x="95302" y="17644"/>
                  </a:lnTo>
                  <a:lnTo>
                    <a:pt x="107082" y="18044"/>
                  </a:lnTo>
                  <a:lnTo>
                    <a:pt x="118021" y="12280"/>
                  </a:lnTo>
                  <a:lnTo>
                    <a:pt x="145957" y="24412"/>
                  </a:lnTo>
                  <a:lnTo>
                    <a:pt x="157729" y="23839"/>
                  </a:lnTo>
                  <a:lnTo>
                    <a:pt x="171345" y="13836"/>
                  </a:lnTo>
                  <a:lnTo>
                    <a:pt x="184877" y="14549"/>
                  </a:lnTo>
                  <a:lnTo>
                    <a:pt x="191538" y="11251"/>
                  </a:lnTo>
                  <a:lnTo>
                    <a:pt x="203961" y="12621"/>
                  </a:lnTo>
                  <a:lnTo>
                    <a:pt x="221833" y="19472"/>
                  </a:lnTo>
                  <a:lnTo>
                    <a:pt x="239882" y="6344"/>
                  </a:lnTo>
                  <a:lnTo>
                    <a:pt x="245300" y="7279"/>
                  </a:lnTo>
                  <a:lnTo>
                    <a:pt x="260919" y="32973"/>
                  </a:lnTo>
                  <a:lnTo>
                    <a:pt x="265212" y="32455"/>
                  </a:lnTo>
                  <a:lnTo>
                    <a:pt x="274349" y="41786"/>
                  </a:lnTo>
                  <a:lnTo>
                    <a:pt x="271833" y="46014"/>
                  </a:lnTo>
                  <a:lnTo>
                    <a:pt x="270614" y="53791"/>
                  </a:lnTo>
                  <a:lnTo>
                    <a:pt x="251168" y="71872"/>
                  </a:lnTo>
                  <a:lnTo>
                    <a:pt x="245068" y="86763"/>
                  </a:lnTo>
                  <a:lnTo>
                    <a:pt x="241812" y="98875"/>
                  </a:lnTo>
                  <a:lnTo>
                    <a:pt x="236915" y="104065"/>
                  </a:lnTo>
                  <a:lnTo>
                    <a:pt x="232257" y="120354"/>
                  </a:lnTo>
                  <a:lnTo>
                    <a:pt x="219913" y="129930"/>
                  </a:lnTo>
                  <a:lnTo>
                    <a:pt x="216336" y="141684"/>
                  </a:lnTo>
                  <a:lnTo>
                    <a:pt x="211151" y="151034"/>
                  </a:lnTo>
                  <a:lnTo>
                    <a:pt x="208992" y="160677"/>
                  </a:lnTo>
                  <a:lnTo>
                    <a:pt x="193135" y="168490"/>
                  </a:lnTo>
                  <a:lnTo>
                    <a:pt x="180176" y="158961"/>
                  </a:lnTo>
                  <a:lnTo>
                    <a:pt x="171425" y="159346"/>
                  </a:lnTo>
                  <a:lnTo>
                    <a:pt x="157678" y="172916"/>
                  </a:lnTo>
                  <a:lnTo>
                    <a:pt x="150995" y="173124"/>
                  </a:lnTo>
                  <a:lnTo>
                    <a:pt x="140016" y="19547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 123"/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437205" y="3158690"/>
              <a:ext cx="87186" cy="83725"/>
            </a:xfrm>
            <a:custGeom>
              <a:avLst/>
              <a:gdLst/>
              <a:ahLst/>
              <a:cxnLst/>
              <a:rect l="0" t="0" r="0" b="0"/>
              <a:pathLst>
                <a:path w="87186" h="83725">
                  <a:moveTo>
                    <a:pt x="63690" y="0"/>
                  </a:moveTo>
                  <a:lnTo>
                    <a:pt x="82871" y="888"/>
                  </a:lnTo>
                  <a:lnTo>
                    <a:pt x="87185" y="11499"/>
                  </a:lnTo>
                  <a:lnTo>
                    <a:pt x="81433" y="40006"/>
                  </a:lnTo>
                  <a:lnTo>
                    <a:pt x="75582" y="51631"/>
                  </a:lnTo>
                  <a:lnTo>
                    <a:pt x="61716" y="51644"/>
                  </a:lnTo>
                  <a:lnTo>
                    <a:pt x="65594" y="83724"/>
                  </a:lnTo>
                  <a:lnTo>
                    <a:pt x="52905" y="76609"/>
                  </a:lnTo>
                  <a:lnTo>
                    <a:pt x="38295" y="63220"/>
                  </a:lnTo>
                  <a:lnTo>
                    <a:pt x="16899" y="69584"/>
                  </a:lnTo>
                  <a:lnTo>
                    <a:pt x="0" y="67181"/>
                  </a:lnTo>
                  <a:lnTo>
                    <a:pt x="11895" y="58753"/>
                  </a:lnTo>
                  <a:lnTo>
                    <a:pt x="32109" y="1313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 124"/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475918" y="2069635"/>
              <a:ext cx="607105" cy="940787"/>
            </a:xfrm>
            <a:custGeom>
              <a:avLst/>
              <a:gdLst/>
              <a:ahLst/>
              <a:cxnLst/>
              <a:rect l="l" t="t" r="r" b="b"/>
              <a:pathLst>
                <a:path w="607105" h="940787">
                  <a:moveTo>
                    <a:pt x="534906" y="449692"/>
                  </a:moveTo>
                  <a:lnTo>
                    <a:pt x="607105" y="480419"/>
                  </a:lnTo>
                  <a:lnTo>
                    <a:pt x="577375" y="491536"/>
                  </a:lnTo>
                  <a:lnTo>
                    <a:pt x="602666" y="517398"/>
                  </a:lnTo>
                  <a:lnTo>
                    <a:pt x="563391" y="533742"/>
                  </a:lnTo>
                  <a:lnTo>
                    <a:pt x="544748" y="537476"/>
                  </a:lnTo>
                  <a:lnTo>
                    <a:pt x="554526" y="508855"/>
                  </a:lnTo>
                  <a:lnTo>
                    <a:pt x="524905" y="492450"/>
                  </a:lnTo>
                  <a:lnTo>
                    <a:pt x="489065" y="506438"/>
                  </a:lnTo>
                  <a:lnTo>
                    <a:pt x="477745" y="536369"/>
                  </a:lnTo>
                  <a:lnTo>
                    <a:pt x="455735" y="554222"/>
                  </a:lnTo>
                  <a:lnTo>
                    <a:pt x="430953" y="544492"/>
                  </a:lnTo>
                  <a:lnTo>
                    <a:pt x="400811" y="546489"/>
                  </a:lnTo>
                  <a:lnTo>
                    <a:pt x="375159" y="525059"/>
                  </a:lnTo>
                  <a:lnTo>
                    <a:pt x="361325" y="535796"/>
                  </a:lnTo>
                  <a:lnTo>
                    <a:pt x="347006" y="537462"/>
                  </a:lnTo>
                  <a:lnTo>
                    <a:pt x="343620" y="563933"/>
                  </a:lnTo>
                  <a:lnTo>
                    <a:pt x="300116" y="557520"/>
                  </a:lnTo>
                  <a:lnTo>
                    <a:pt x="294007" y="579725"/>
                  </a:lnTo>
                  <a:lnTo>
                    <a:pt x="271840" y="579591"/>
                  </a:lnTo>
                  <a:lnTo>
                    <a:pt x="256601" y="607617"/>
                  </a:lnTo>
                  <a:lnTo>
                    <a:pt x="233512" y="650536"/>
                  </a:lnTo>
                  <a:lnTo>
                    <a:pt x="197671" y="703754"/>
                  </a:lnTo>
                  <a:lnTo>
                    <a:pt x="206078" y="716474"/>
                  </a:lnTo>
                  <a:lnTo>
                    <a:pt x="198046" y="731136"/>
                  </a:lnTo>
                  <a:lnTo>
                    <a:pt x="175148" y="730506"/>
                  </a:lnTo>
                  <a:lnTo>
                    <a:pt x="160159" y="764817"/>
                  </a:lnTo>
                  <a:lnTo>
                    <a:pt x="161578" y="812479"/>
                  </a:lnTo>
                  <a:lnTo>
                    <a:pt x="176330" y="830396"/>
                  </a:lnTo>
                  <a:lnTo>
                    <a:pt x="168695" y="871404"/>
                  </a:lnTo>
                  <a:lnTo>
                    <a:pt x="149488" y="894970"/>
                  </a:lnTo>
                  <a:lnTo>
                    <a:pt x="139311" y="914590"/>
                  </a:lnTo>
                  <a:lnTo>
                    <a:pt x="123827" y="893691"/>
                  </a:lnTo>
                  <a:lnTo>
                    <a:pt x="78248" y="932918"/>
                  </a:lnTo>
                  <a:lnTo>
                    <a:pt x="47474" y="940787"/>
                  </a:lnTo>
                  <a:lnTo>
                    <a:pt x="15552" y="923657"/>
                  </a:lnTo>
                  <a:lnTo>
                    <a:pt x="7298" y="887062"/>
                  </a:lnTo>
                  <a:lnTo>
                    <a:pt x="0" y="806413"/>
                  </a:lnTo>
                  <a:lnTo>
                    <a:pt x="21255" y="783385"/>
                  </a:lnTo>
                  <a:lnTo>
                    <a:pt x="82205" y="752965"/>
                  </a:lnTo>
                  <a:lnTo>
                    <a:pt x="127777" y="714966"/>
                  </a:lnTo>
                  <a:lnTo>
                    <a:pt x="170033" y="662538"/>
                  </a:lnTo>
                  <a:lnTo>
                    <a:pt x="225496" y="587638"/>
                  </a:lnTo>
                  <a:lnTo>
                    <a:pt x="264155" y="557687"/>
                  </a:lnTo>
                  <a:lnTo>
                    <a:pt x="327588" y="506761"/>
                  </a:lnTo>
                  <a:lnTo>
                    <a:pt x="378241" y="488678"/>
                  </a:lnTo>
                  <a:lnTo>
                    <a:pt x="416219" y="490881"/>
                  </a:lnTo>
                  <a:lnTo>
                    <a:pt x="451369" y="456240"/>
                  </a:lnTo>
                  <a:lnTo>
                    <a:pt x="493461" y="458105"/>
                  </a:lnTo>
                  <a:close/>
                  <a:moveTo>
                    <a:pt x="412999" y="114547"/>
                  </a:moveTo>
                  <a:lnTo>
                    <a:pt x="422165" y="133385"/>
                  </a:lnTo>
                  <a:lnTo>
                    <a:pt x="455468" y="144619"/>
                  </a:lnTo>
                  <a:lnTo>
                    <a:pt x="403906" y="164805"/>
                  </a:lnTo>
                  <a:lnTo>
                    <a:pt x="363181" y="153374"/>
                  </a:lnTo>
                  <a:lnTo>
                    <a:pt x="379111" y="140586"/>
                  </a:lnTo>
                  <a:lnTo>
                    <a:pt x="365164" y="124623"/>
                  </a:lnTo>
                  <a:close/>
                  <a:moveTo>
                    <a:pt x="276964" y="32253"/>
                  </a:moveTo>
                  <a:lnTo>
                    <a:pt x="306071" y="50571"/>
                  </a:lnTo>
                  <a:lnTo>
                    <a:pt x="382059" y="89096"/>
                  </a:lnTo>
                  <a:lnTo>
                    <a:pt x="323972" y="109109"/>
                  </a:lnTo>
                  <a:lnTo>
                    <a:pt x="311146" y="145967"/>
                  </a:lnTo>
                  <a:lnTo>
                    <a:pt x="290896" y="155303"/>
                  </a:lnTo>
                  <a:lnTo>
                    <a:pt x="279903" y="195750"/>
                  </a:lnTo>
                  <a:lnTo>
                    <a:pt x="252087" y="197630"/>
                  </a:lnTo>
                  <a:lnTo>
                    <a:pt x="202447" y="167973"/>
                  </a:lnTo>
                  <a:lnTo>
                    <a:pt x="223382" y="150477"/>
                  </a:lnTo>
                  <a:lnTo>
                    <a:pt x="188782" y="136109"/>
                  </a:lnTo>
                  <a:lnTo>
                    <a:pt x="143810" y="93529"/>
                  </a:lnTo>
                  <a:lnTo>
                    <a:pt x="125857" y="53146"/>
                  </a:lnTo>
                  <a:lnTo>
                    <a:pt x="188786" y="34382"/>
                  </a:lnTo>
                  <a:lnTo>
                    <a:pt x="201430" y="52729"/>
                  </a:lnTo>
                  <a:lnTo>
                    <a:pt x="234306" y="52003"/>
                  </a:lnTo>
                  <a:lnTo>
                    <a:pt x="243071" y="34086"/>
                  </a:lnTo>
                  <a:close/>
                  <a:moveTo>
                    <a:pt x="413807" y="0"/>
                  </a:moveTo>
                  <a:lnTo>
                    <a:pt x="472169" y="13358"/>
                  </a:lnTo>
                  <a:lnTo>
                    <a:pt x="517408" y="31960"/>
                  </a:lnTo>
                  <a:lnTo>
                    <a:pt x="483180" y="60148"/>
                  </a:lnTo>
                  <a:lnTo>
                    <a:pt x="416236" y="66258"/>
                  </a:lnTo>
                  <a:lnTo>
                    <a:pt x="348159" y="57602"/>
                  </a:lnTo>
                  <a:lnTo>
                    <a:pt x="344052" y="43215"/>
                  </a:lnTo>
                  <a:lnTo>
                    <a:pt x="310928" y="42296"/>
                  </a:lnTo>
                  <a:lnTo>
                    <a:pt x="285670" y="18064"/>
                  </a:lnTo>
                  <a:lnTo>
                    <a:pt x="356948" y="3163"/>
                  </a:lnTo>
                  <a:lnTo>
                    <a:pt x="390463" y="1600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 125"/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6209342" y="3803609"/>
              <a:ext cx="186656" cy="100744"/>
            </a:xfrm>
            <a:custGeom>
              <a:avLst/>
              <a:gdLst/>
              <a:ahLst/>
              <a:cxnLst/>
              <a:rect l="0" t="0" r="0" b="0"/>
              <a:pathLst>
                <a:path w="186656" h="100744">
                  <a:moveTo>
                    <a:pt x="185400" y="64005"/>
                  </a:moveTo>
                  <a:lnTo>
                    <a:pt x="183615" y="74738"/>
                  </a:lnTo>
                  <a:lnTo>
                    <a:pt x="186655" y="90524"/>
                  </a:lnTo>
                  <a:lnTo>
                    <a:pt x="184010" y="100329"/>
                  </a:lnTo>
                  <a:lnTo>
                    <a:pt x="164788" y="100743"/>
                  </a:lnTo>
                  <a:lnTo>
                    <a:pt x="137018" y="94972"/>
                  </a:lnTo>
                  <a:lnTo>
                    <a:pt x="119184" y="92612"/>
                  </a:lnTo>
                  <a:lnTo>
                    <a:pt x="105871" y="79984"/>
                  </a:lnTo>
                  <a:lnTo>
                    <a:pt x="74229" y="76761"/>
                  </a:lnTo>
                  <a:lnTo>
                    <a:pt x="44124" y="62784"/>
                  </a:lnTo>
                  <a:lnTo>
                    <a:pt x="22362" y="50523"/>
                  </a:lnTo>
                  <a:lnTo>
                    <a:pt x="0" y="41043"/>
                  </a:lnTo>
                  <a:lnTo>
                    <a:pt x="8963" y="17514"/>
                  </a:lnTo>
                  <a:lnTo>
                    <a:pt x="23609" y="6056"/>
                  </a:lnTo>
                  <a:lnTo>
                    <a:pt x="33178" y="0"/>
                  </a:lnTo>
                  <a:lnTo>
                    <a:pt x="51684" y="7781"/>
                  </a:lnTo>
                  <a:lnTo>
                    <a:pt x="74988" y="24222"/>
                  </a:lnTo>
                  <a:lnTo>
                    <a:pt x="87958" y="27835"/>
                  </a:lnTo>
                  <a:lnTo>
                    <a:pt x="95704" y="39903"/>
                  </a:lnTo>
                  <a:lnTo>
                    <a:pt x="113641" y="44846"/>
                  </a:lnTo>
                  <a:lnTo>
                    <a:pt x="132376" y="55838"/>
                  </a:lnTo>
                  <a:lnTo>
                    <a:pt x="158488" y="6156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Freeform 126"/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8204163" y="5355753"/>
              <a:ext cx="277176" cy="334138"/>
            </a:xfrm>
            <a:custGeom>
              <a:avLst/>
              <a:gdLst/>
              <a:ahLst/>
              <a:cxnLst/>
              <a:rect l="l" t="t" r="r" b="b"/>
              <a:pathLst>
                <a:path w="277176" h="334138">
                  <a:moveTo>
                    <a:pt x="145177" y="161119"/>
                  </a:moveTo>
                  <a:lnTo>
                    <a:pt x="150297" y="172762"/>
                  </a:lnTo>
                  <a:lnTo>
                    <a:pt x="155534" y="184115"/>
                  </a:lnTo>
                  <a:lnTo>
                    <a:pt x="171949" y="172972"/>
                  </a:lnTo>
                  <a:lnTo>
                    <a:pt x="178625" y="184587"/>
                  </a:lnTo>
                  <a:lnTo>
                    <a:pt x="178645" y="196203"/>
                  </a:lnTo>
                  <a:lnTo>
                    <a:pt x="170058" y="209040"/>
                  </a:lnTo>
                  <a:lnTo>
                    <a:pt x="154968" y="229575"/>
                  </a:lnTo>
                  <a:lnTo>
                    <a:pt x="143161" y="240847"/>
                  </a:lnTo>
                  <a:lnTo>
                    <a:pt x="151676" y="254384"/>
                  </a:lnTo>
                  <a:lnTo>
                    <a:pt x="133867" y="254733"/>
                  </a:lnTo>
                  <a:lnTo>
                    <a:pt x="114116" y="265383"/>
                  </a:lnTo>
                  <a:lnTo>
                    <a:pt x="107934" y="283979"/>
                  </a:lnTo>
                  <a:lnTo>
                    <a:pt x="94813" y="312967"/>
                  </a:lnTo>
                  <a:lnTo>
                    <a:pt x="76687" y="325866"/>
                  </a:lnTo>
                  <a:lnTo>
                    <a:pt x="65167" y="334138"/>
                  </a:lnTo>
                  <a:lnTo>
                    <a:pt x="43908" y="333521"/>
                  </a:lnTo>
                  <a:lnTo>
                    <a:pt x="28960" y="323970"/>
                  </a:lnTo>
                  <a:lnTo>
                    <a:pt x="3872" y="321938"/>
                  </a:lnTo>
                  <a:lnTo>
                    <a:pt x="0" y="311348"/>
                  </a:lnTo>
                  <a:lnTo>
                    <a:pt x="12401" y="290080"/>
                  </a:lnTo>
                  <a:lnTo>
                    <a:pt x="41424" y="262028"/>
                  </a:lnTo>
                  <a:lnTo>
                    <a:pt x="56327" y="256711"/>
                  </a:lnTo>
                  <a:lnTo>
                    <a:pt x="72911" y="245990"/>
                  </a:lnTo>
                  <a:lnTo>
                    <a:pt x="92695" y="231300"/>
                  </a:lnTo>
                  <a:lnTo>
                    <a:pt x="106548" y="216814"/>
                  </a:lnTo>
                  <a:lnTo>
                    <a:pt x="116812" y="196132"/>
                  </a:lnTo>
                  <a:lnTo>
                    <a:pt x="125560" y="189143"/>
                  </a:lnTo>
                  <a:lnTo>
                    <a:pt x="128988" y="173779"/>
                  </a:lnTo>
                  <a:close/>
                  <a:moveTo>
                    <a:pt x="149989" y="0"/>
                  </a:moveTo>
                  <a:lnTo>
                    <a:pt x="162552" y="14494"/>
                  </a:lnTo>
                  <a:lnTo>
                    <a:pt x="180512" y="21280"/>
                  </a:lnTo>
                  <a:lnTo>
                    <a:pt x="187036" y="44695"/>
                  </a:lnTo>
                  <a:lnTo>
                    <a:pt x="203762" y="72572"/>
                  </a:lnTo>
                  <a:lnTo>
                    <a:pt x="204246" y="54462"/>
                  </a:lnTo>
                  <a:lnTo>
                    <a:pt x="214663" y="61683"/>
                  </a:lnTo>
                  <a:lnTo>
                    <a:pt x="218117" y="81793"/>
                  </a:lnTo>
                  <a:lnTo>
                    <a:pt x="236692" y="90494"/>
                  </a:lnTo>
                  <a:lnTo>
                    <a:pt x="252286" y="92634"/>
                  </a:lnTo>
                  <a:lnTo>
                    <a:pt x="265479" y="82445"/>
                  </a:lnTo>
                  <a:lnTo>
                    <a:pt x="277176" y="85528"/>
                  </a:lnTo>
                  <a:lnTo>
                    <a:pt x="271582" y="109305"/>
                  </a:lnTo>
                  <a:lnTo>
                    <a:pt x="264558" y="125036"/>
                  </a:lnTo>
                  <a:lnTo>
                    <a:pt x="246935" y="124480"/>
                  </a:lnTo>
                  <a:lnTo>
                    <a:pt x="240772" y="132703"/>
                  </a:lnTo>
                  <a:lnTo>
                    <a:pt x="242918" y="144379"/>
                  </a:lnTo>
                  <a:lnTo>
                    <a:pt x="239522" y="149442"/>
                  </a:lnTo>
                  <a:lnTo>
                    <a:pt x="230800" y="164151"/>
                  </a:lnTo>
                  <a:lnTo>
                    <a:pt x="219362" y="182948"/>
                  </a:lnTo>
                  <a:lnTo>
                    <a:pt x="201522" y="193945"/>
                  </a:lnTo>
                  <a:lnTo>
                    <a:pt x="197559" y="186702"/>
                  </a:lnTo>
                  <a:lnTo>
                    <a:pt x="187935" y="182733"/>
                  </a:lnTo>
                  <a:lnTo>
                    <a:pt x="201246" y="160170"/>
                  </a:lnTo>
                  <a:lnTo>
                    <a:pt x="193687" y="145167"/>
                  </a:lnTo>
                  <a:lnTo>
                    <a:pt x="168848" y="134305"/>
                  </a:lnTo>
                  <a:lnTo>
                    <a:pt x="169499" y="124502"/>
                  </a:lnTo>
                  <a:lnTo>
                    <a:pt x="186177" y="115089"/>
                  </a:lnTo>
                  <a:lnTo>
                    <a:pt x="190070" y="94415"/>
                  </a:lnTo>
                  <a:lnTo>
                    <a:pt x="188998" y="77150"/>
                  </a:lnTo>
                  <a:lnTo>
                    <a:pt x="179649" y="59356"/>
                  </a:lnTo>
                  <a:lnTo>
                    <a:pt x="180273" y="54690"/>
                  </a:lnTo>
                  <a:lnTo>
                    <a:pt x="169239" y="43788"/>
                  </a:lnTo>
                  <a:lnTo>
                    <a:pt x="151077" y="20537"/>
                  </a:lnTo>
                  <a:lnTo>
                    <a:pt x="141424" y="204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 127"/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5560987" y="3904400"/>
              <a:ext cx="180231" cy="235710"/>
            </a:xfrm>
            <a:custGeom>
              <a:avLst/>
              <a:gdLst/>
              <a:ahLst/>
              <a:cxnLst/>
              <a:rect l="l" t="t" r="r" b="b"/>
              <a:pathLst>
                <a:path w="180231" h="235710">
                  <a:moveTo>
                    <a:pt x="101490" y="36263"/>
                  </a:moveTo>
                  <a:lnTo>
                    <a:pt x="111838" y="53007"/>
                  </a:lnTo>
                  <a:lnTo>
                    <a:pt x="124726" y="61884"/>
                  </a:lnTo>
                  <a:lnTo>
                    <a:pt x="141657" y="65075"/>
                  </a:lnTo>
                  <a:lnTo>
                    <a:pt x="155328" y="69522"/>
                  </a:lnTo>
                  <a:lnTo>
                    <a:pt x="165745" y="83486"/>
                  </a:lnTo>
                  <a:lnTo>
                    <a:pt x="171968" y="91559"/>
                  </a:lnTo>
                  <a:lnTo>
                    <a:pt x="180231" y="94635"/>
                  </a:lnTo>
                  <a:lnTo>
                    <a:pt x="180186" y="100047"/>
                  </a:lnTo>
                  <a:lnTo>
                    <a:pt x="171785" y="114480"/>
                  </a:lnTo>
                  <a:lnTo>
                    <a:pt x="168097" y="121264"/>
                  </a:lnTo>
                  <a:lnTo>
                    <a:pt x="158373" y="128985"/>
                  </a:lnTo>
                  <a:lnTo>
                    <a:pt x="149760" y="145487"/>
                  </a:lnTo>
                  <a:lnTo>
                    <a:pt x="139288" y="144225"/>
                  </a:lnTo>
                  <a:lnTo>
                    <a:pt x="134488" y="149959"/>
                  </a:lnTo>
                  <a:lnTo>
                    <a:pt x="130781" y="162133"/>
                  </a:lnTo>
                  <a:lnTo>
                    <a:pt x="133618" y="178147"/>
                  </a:lnTo>
                  <a:lnTo>
                    <a:pt x="131441" y="181086"/>
                  </a:lnTo>
                  <a:lnTo>
                    <a:pt x="120820" y="181007"/>
                  </a:lnTo>
                  <a:lnTo>
                    <a:pt x="106403" y="189938"/>
                  </a:lnTo>
                  <a:lnTo>
                    <a:pt x="104153" y="201562"/>
                  </a:lnTo>
                  <a:lnTo>
                    <a:pt x="98875" y="206591"/>
                  </a:lnTo>
                  <a:lnTo>
                    <a:pt x="84517" y="206399"/>
                  </a:lnTo>
                  <a:lnTo>
                    <a:pt x="75478" y="212395"/>
                  </a:lnTo>
                  <a:lnTo>
                    <a:pt x="75593" y="222002"/>
                  </a:lnTo>
                  <a:lnTo>
                    <a:pt x="64423" y="228599"/>
                  </a:lnTo>
                  <a:lnTo>
                    <a:pt x="51688" y="226359"/>
                  </a:lnTo>
                  <a:lnTo>
                    <a:pt x="36251" y="234367"/>
                  </a:lnTo>
                  <a:lnTo>
                    <a:pt x="25589" y="235710"/>
                  </a:lnTo>
                  <a:lnTo>
                    <a:pt x="18054" y="219117"/>
                  </a:lnTo>
                  <a:lnTo>
                    <a:pt x="0" y="179763"/>
                  </a:lnTo>
                  <a:lnTo>
                    <a:pt x="69247" y="155798"/>
                  </a:lnTo>
                  <a:lnTo>
                    <a:pt x="84636" y="107572"/>
                  </a:lnTo>
                  <a:lnTo>
                    <a:pt x="74057" y="90391"/>
                  </a:lnTo>
                  <a:lnTo>
                    <a:pt x="74660" y="80600"/>
                  </a:lnTo>
                  <a:lnTo>
                    <a:pt x="81385" y="70517"/>
                  </a:lnTo>
                  <a:lnTo>
                    <a:pt x="81450" y="60540"/>
                  </a:lnTo>
                  <a:lnTo>
                    <a:pt x="91897" y="55725"/>
                  </a:lnTo>
                  <a:lnTo>
                    <a:pt x="87809" y="52323"/>
                  </a:lnTo>
                  <a:lnTo>
                    <a:pt x="89704" y="36359"/>
                  </a:lnTo>
                  <a:close/>
                  <a:moveTo>
                    <a:pt x="100687" y="0"/>
                  </a:moveTo>
                  <a:lnTo>
                    <a:pt x="103541" y="2148"/>
                  </a:lnTo>
                  <a:lnTo>
                    <a:pt x="101365" y="12355"/>
                  </a:lnTo>
                  <a:lnTo>
                    <a:pt x="98356" y="16828"/>
                  </a:lnTo>
                  <a:lnTo>
                    <a:pt x="93965" y="841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 128"/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5765827" y="3629638"/>
              <a:ext cx="391557" cy="341204"/>
            </a:xfrm>
            <a:custGeom>
              <a:avLst/>
              <a:gdLst/>
              <a:ahLst/>
              <a:cxnLst/>
              <a:rect l="0" t="0" r="0" b="0"/>
              <a:pathLst>
                <a:path w="391557" h="341204">
                  <a:moveTo>
                    <a:pt x="329708" y="0"/>
                  </a:moveTo>
                  <a:lnTo>
                    <a:pt x="346763" y="12367"/>
                  </a:lnTo>
                  <a:lnTo>
                    <a:pt x="353594" y="32652"/>
                  </a:lnTo>
                  <a:lnTo>
                    <a:pt x="391556" y="43279"/>
                  </a:lnTo>
                  <a:lnTo>
                    <a:pt x="369264" y="65264"/>
                  </a:lnTo>
                  <a:lnTo>
                    <a:pt x="343535" y="69137"/>
                  </a:lnTo>
                  <a:lnTo>
                    <a:pt x="308522" y="62777"/>
                  </a:lnTo>
                  <a:lnTo>
                    <a:pt x="297206" y="74010"/>
                  </a:lnTo>
                  <a:lnTo>
                    <a:pt x="305385" y="96731"/>
                  </a:lnTo>
                  <a:lnTo>
                    <a:pt x="313401" y="114180"/>
                  </a:lnTo>
                  <a:lnTo>
                    <a:pt x="332030" y="126863"/>
                  </a:lnTo>
                  <a:lnTo>
                    <a:pt x="312347" y="141667"/>
                  </a:lnTo>
                  <a:lnTo>
                    <a:pt x="312704" y="159832"/>
                  </a:lnTo>
                  <a:lnTo>
                    <a:pt x="290297" y="185262"/>
                  </a:lnTo>
                  <a:lnTo>
                    <a:pt x="275826" y="210820"/>
                  </a:lnTo>
                  <a:lnTo>
                    <a:pt x="251680" y="237062"/>
                  </a:lnTo>
                  <a:lnTo>
                    <a:pt x="224877" y="235164"/>
                  </a:lnTo>
                  <a:lnTo>
                    <a:pt x="199438" y="261256"/>
                  </a:lnTo>
                  <a:lnTo>
                    <a:pt x="214546" y="272388"/>
                  </a:lnTo>
                  <a:lnTo>
                    <a:pt x="217176" y="291403"/>
                  </a:lnTo>
                  <a:lnTo>
                    <a:pt x="230145" y="303890"/>
                  </a:lnTo>
                  <a:lnTo>
                    <a:pt x="234728" y="324957"/>
                  </a:lnTo>
                  <a:lnTo>
                    <a:pt x="183931" y="324893"/>
                  </a:lnTo>
                  <a:lnTo>
                    <a:pt x="168559" y="341203"/>
                  </a:lnTo>
                  <a:lnTo>
                    <a:pt x="151640" y="335027"/>
                  </a:lnTo>
                  <a:lnTo>
                    <a:pt x="144756" y="317433"/>
                  </a:lnTo>
                  <a:lnTo>
                    <a:pt x="126922" y="298722"/>
                  </a:lnTo>
                  <a:lnTo>
                    <a:pt x="84394" y="303350"/>
                  </a:lnTo>
                  <a:lnTo>
                    <a:pt x="46891" y="303809"/>
                  </a:lnTo>
                  <a:lnTo>
                    <a:pt x="14383" y="307254"/>
                  </a:lnTo>
                  <a:lnTo>
                    <a:pt x="23081" y="278620"/>
                  </a:lnTo>
                  <a:lnTo>
                    <a:pt x="56377" y="265831"/>
                  </a:lnTo>
                  <a:lnTo>
                    <a:pt x="54467" y="254399"/>
                  </a:lnTo>
                  <a:lnTo>
                    <a:pt x="43423" y="250374"/>
                  </a:lnTo>
                  <a:lnTo>
                    <a:pt x="42786" y="228408"/>
                  </a:lnTo>
                  <a:lnTo>
                    <a:pt x="20719" y="217400"/>
                  </a:lnTo>
                  <a:lnTo>
                    <a:pt x="11427" y="202232"/>
                  </a:lnTo>
                  <a:lnTo>
                    <a:pt x="0" y="188978"/>
                  </a:lnTo>
                  <a:lnTo>
                    <a:pt x="38678" y="201847"/>
                  </a:lnTo>
                  <a:lnTo>
                    <a:pt x="61770" y="198078"/>
                  </a:lnTo>
                  <a:lnTo>
                    <a:pt x="75567" y="201287"/>
                  </a:lnTo>
                  <a:lnTo>
                    <a:pt x="80239" y="195767"/>
                  </a:lnTo>
                  <a:lnTo>
                    <a:pt x="96315" y="197980"/>
                  </a:lnTo>
                  <a:lnTo>
                    <a:pt x="126314" y="187496"/>
                  </a:lnTo>
                  <a:lnTo>
                    <a:pt x="127121" y="165952"/>
                  </a:lnTo>
                  <a:lnTo>
                    <a:pt x="139988" y="151558"/>
                  </a:lnTo>
                  <a:lnTo>
                    <a:pt x="157173" y="151603"/>
                  </a:lnTo>
                  <a:lnTo>
                    <a:pt x="159696" y="144468"/>
                  </a:lnTo>
                  <a:lnTo>
                    <a:pt x="177337" y="141139"/>
                  </a:lnTo>
                  <a:lnTo>
                    <a:pt x="185872" y="143517"/>
                  </a:lnTo>
                  <a:lnTo>
                    <a:pt x="194899" y="136331"/>
                  </a:lnTo>
                  <a:lnTo>
                    <a:pt x="193624" y="120939"/>
                  </a:lnTo>
                  <a:lnTo>
                    <a:pt x="203425" y="105406"/>
                  </a:lnTo>
                  <a:lnTo>
                    <a:pt x="218116" y="98875"/>
                  </a:lnTo>
                  <a:lnTo>
                    <a:pt x="209044" y="81743"/>
                  </a:lnTo>
                  <a:lnTo>
                    <a:pt x="231001" y="82554"/>
                  </a:lnTo>
                  <a:lnTo>
                    <a:pt x="237348" y="73198"/>
                  </a:lnTo>
                  <a:lnTo>
                    <a:pt x="236385" y="63188"/>
                  </a:lnTo>
                  <a:lnTo>
                    <a:pt x="247881" y="52211"/>
                  </a:lnTo>
                  <a:lnTo>
                    <a:pt x="245243" y="39169"/>
                  </a:lnTo>
                  <a:lnTo>
                    <a:pt x="239785" y="28017"/>
                  </a:lnTo>
                  <a:lnTo>
                    <a:pt x="253264" y="16518"/>
                  </a:lnTo>
                  <a:lnTo>
                    <a:pt x="278049" y="10958"/>
                  </a:lnTo>
                  <a:lnTo>
                    <a:pt x="304537" y="7880"/>
                  </a:lnTo>
                  <a:lnTo>
                    <a:pt x="316271" y="298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 129"/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7065382" y="4095987"/>
              <a:ext cx="216127" cy="303029"/>
            </a:xfrm>
            <a:custGeom>
              <a:avLst/>
              <a:gdLst/>
              <a:ahLst/>
              <a:cxnLst/>
              <a:rect l="l" t="t" r="r" b="b"/>
              <a:pathLst>
                <a:path w="216127" h="303029">
                  <a:moveTo>
                    <a:pt x="190152" y="205988"/>
                  </a:moveTo>
                  <a:lnTo>
                    <a:pt x="208862" y="217033"/>
                  </a:lnTo>
                  <a:lnTo>
                    <a:pt x="210799" y="228750"/>
                  </a:lnTo>
                  <a:lnTo>
                    <a:pt x="212420" y="237301"/>
                  </a:lnTo>
                  <a:lnTo>
                    <a:pt x="214767" y="252734"/>
                  </a:lnTo>
                  <a:lnTo>
                    <a:pt x="216127" y="265754"/>
                  </a:lnTo>
                  <a:lnTo>
                    <a:pt x="208264" y="286971"/>
                  </a:lnTo>
                  <a:lnTo>
                    <a:pt x="199830" y="263333"/>
                  </a:lnTo>
                  <a:lnTo>
                    <a:pt x="189038" y="275099"/>
                  </a:lnTo>
                  <a:lnTo>
                    <a:pt x="196408" y="292175"/>
                  </a:lnTo>
                  <a:lnTo>
                    <a:pt x="189791" y="303029"/>
                  </a:lnTo>
                  <a:lnTo>
                    <a:pt x="162630" y="289587"/>
                  </a:lnTo>
                  <a:lnTo>
                    <a:pt x="156142" y="272811"/>
                  </a:lnTo>
                  <a:lnTo>
                    <a:pt x="163181" y="261781"/>
                  </a:lnTo>
                  <a:lnTo>
                    <a:pt x="148559" y="250803"/>
                  </a:lnTo>
                  <a:lnTo>
                    <a:pt x="141308" y="260429"/>
                  </a:lnTo>
                  <a:lnTo>
                    <a:pt x="130445" y="259536"/>
                  </a:lnTo>
                  <a:lnTo>
                    <a:pt x="113364" y="272480"/>
                  </a:lnTo>
                  <a:lnTo>
                    <a:pt x="109543" y="265691"/>
                  </a:lnTo>
                  <a:lnTo>
                    <a:pt x="118600" y="246125"/>
                  </a:lnTo>
                  <a:lnTo>
                    <a:pt x="133144" y="239590"/>
                  </a:lnTo>
                  <a:lnTo>
                    <a:pt x="145731" y="230831"/>
                  </a:lnTo>
                  <a:lnTo>
                    <a:pt x="153890" y="241354"/>
                  </a:lnTo>
                  <a:lnTo>
                    <a:pt x="171440" y="234989"/>
                  </a:lnTo>
                  <a:lnTo>
                    <a:pt x="175206" y="224612"/>
                  </a:lnTo>
                  <a:lnTo>
                    <a:pt x="191520" y="223993"/>
                  </a:lnTo>
                  <a:close/>
                  <a:moveTo>
                    <a:pt x="159355" y="171633"/>
                  </a:moveTo>
                  <a:lnTo>
                    <a:pt x="157151" y="193903"/>
                  </a:lnTo>
                  <a:lnTo>
                    <a:pt x="148858" y="201567"/>
                  </a:lnTo>
                  <a:lnTo>
                    <a:pt x="141628" y="216284"/>
                  </a:lnTo>
                  <a:lnTo>
                    <a:pt x="134379" y="223174"/>
                  </a:lnTo>
                  <a:lnTo>
                    <a:pt x="120164" y="207083"/>
                  </a:lnTo>
                  <a:lnTo>
                    <a:pt x="124919" y="200845"/>
                  </a:lnTo>
                  <a:lnTo>
                    <a:pt x="130713" y="194314"/>
                  </a:lnTo>
                  <a:lnTo>
                    <a:pt x="133260" y="179829"/>
                  </a:lnTo>
                  <a:lnTo>
                    <a:pt x="145989" y="178457"/>
                  </a:lnTo>
                  <a:lnTo>
                    <a:pt x="142270" y="194169"/>
                  </a:lnTo>
                  <a:close/>
                  <a:moveTo>
                    <a:pt x="53949" y="168432"/>
                  </a:moveTo>
                  <a:lnTo>
                    <a:pt x="58062" y="187476"/>
                  </a:lnTo>
                  <a:lnTo>
                    <a:pt x="42823" y="200318"/>
                  </a:lnTo>
                  <a:lnTo>
                    <a:pt x="30707" y="216328"/>
                  </a:lnTo>
                  <a:lnTo>
                    <a:pt x="0" y="238398"/>
                  </a:lnTo>
                  <a:lnTo>
                    <a:pt x="11316" y="222134"/>
                  </a:lnTo>
                  <a:lnTo>
                    <a:pt x="27991" y="207755"/>
                  </a:lnTo>
                  <a:lnTo>
                    <a:pt x="41851" y="191629"/>
                  </a:lnTo>
                  <a:close/>
                  <a:moveTo>
                    <a:pt x="108703" y="156220"/>
                  </a:moveTo>
                  <a:lnTo>
                    <a:pt x="122558" y="163463"/>
                  </a:lnTo>
                  <a:lnTo>
                    <a:pt x="137248" y="163428"/>
                  </a:lnTo>
                  <a:lnTo>
                    <a:pt x="136802" y="173193"/>
                  </a:lnTo>
                  <a:lnTo>
                    <a:pt x="126111" y="183111"/>
                  </a:lnTo>
                  <a:lnTo>
                    <a:pt x="111451" y="190119"/>
                  </a:lnTo>
                  <a:lnTo>
                    <a:pt x="110638" y="179273"/>
                  </a:lnTo>
                  <a:lnTo>
                    <a:pt x="112277" y="167352"/>
                  </a:lnTo>
                  <a:close/>
                  <a:moveTo>
                    <a:pt x="163714" y="140620"/>
                  </a:moveTo>
                  <a:lnTo>
                    <a:pt x="185882" y="141137"/>
                  </a:lnTo>
                  <a:lnTo>
                    <a:pt x="192239" y="149877"/>
                  </a:lnTo>
                  <a:lnTo>
                    <a:pt x="198723" y="175993"/>
                  </a:lnTo>
                  <a:lnTo>
                    <a:pt x="180914" y="169793"/>
                  </a:lnTo>
                  <a:lnTo>
                    <a:pt x="181395" y="177635"/>
                  </a:lnTo>
                  <a:lnTo>
                    <a:pt x="187043" y="192038"/>
                  </a:lnTo>
                  <a:lnTo>
                    <a:pt x="176064" y="197263"/>
                  </a:lnTo>
                  <a:lnTo>
                    <a:pt x="175103" y="180853"/>
                  </a:lnTo>
                  <a:lnTo>
                    <a:pt x="168153" y="179641"/>
                  </a:lnTo>
                  <a:lnTo>
                    <a:pt x="164539" y="165493"/>
                  </a:lnTo>
                  <a:lnTo>
                    <a:pt x="178123" y="167359"/>
                  </a:lnTo>
                  <a:lnTo>
                    <a:pt x="177822" y="158503"/>
                  </a:lnTo>
                  <a:close/>
                  <a:moveTo>
                    <a:pt x="72691" y="119295"/>
                  </a:moveTo>
                  <a:lnTo>
                    <a:pt x="92466" y="120158"/>
                  </a:lnTo>
                  <a:lnTo>
                    <a:pt x="100482" y="128614"/>
                  </a:lnTo>
                  <a:lnTo>
                    <a:pt x="94360" y="148873"/>
                  </a:lnTo>
                  <a:lnTo>
                    <a:pt x="84474" y="137180"/>
                  </a:lnTo>
                  <a:close/>
                  <a:moveTo>
                    <a:pt x="81750" y="0"/>
                  </a:moveTo>
                  <a:lnTo>
                    <a:pt x="95725" y="27"/>
                  </a:lnTo>
                  <a:lnTo>
                    <a:pt x="109951" y="6840"/>
                  </a:lnTo>
                  <a:lnTo>
                    <a:pt x="117070" y="627"/>
                  </a:lnTo>
                  <a:lnTo>
                    <a:pt x="119169" y="6690"/>
                  </a:lnTo>
                  <a:lnTo>
                    <a:pt x="115414" y="16571"/>
                  </a:lnTo>
                  <a:lnTo>
                    <a:pt x="123294" y="33619"/>
                  </a:lnTo>
                  <a:lnTo>
                    <a:pt x="117215" y="53335"/>
                  </a:lnTo>
                  <a:lnTo>
                    <a:pt x="103607" y="61183"/>
                  </a:lnTo>
                  <a:lnTo>
                    <a:pt x="99967" y="80238"/>
                  </a:lnTo>
                  <a:lnTo>
                    <a:pt x="105131" y="99018"/>
                  </a:lnTo>
                  <a:lnTo>
                    <a:pt x="117368" y="101612"/>
                  </a:lnTo>
                  <a:lnTo>
                    <a:pt x="127578" y="98826"/>
                  </a:lnTo>
                  <a:lnTo>
                    <a:pt x="156409" y="111873"/>
                  </a:lnTo>
                  <a:lnTo>
                    <a:pt x="154212" y="124665"/>
                  </a:lnTo>
                  <a:lnTo>
                    <a:pt x="161741" y="130305"/>
                  </a:lnTo>
                  <a:lnTo>
                    <a:pt x="159344" y="141114"/>
                  </a:lnTo>
                  <a:lnTo>
                    <a:pt x="141353" y="129601"/>
                  </a:lnTo>
                  <a:lnTo>
                    <a:pt x="132827" y="117262"/>
                  </a:lnTo>
                  <a:lnTo>
                    <a:pt x="126888" y="125885"/>
                  </a:lnTo>
                  <a:lnTo>
                    <a:pt x="112191" y="111818"/>
                  </a:lnTo>
                  <a:lnTo>
                    <a:pt x="91225" y="115293"/>
                  </a:lnTo>
                  <a:lnTo>
                    <a:pt x="79736" y="110097"/>
                  </a:lnTo>
                  <a:lnTo>
                    <a:pt x="80907" y="100368"/>
                  </a:lnTo>
                  <a:lnTo>
                    <a:pt x="88119" y="94376"/>
                  </a:lnTo>
                  <a:lnTo>
                    <a:pt x="81230" y="88924"/>
                  </a:lnTo>
                  <a:lnTo>
                    <a:pt x="78248" y="97418"/>
                  </a:lnTo>
                  <a:lnTo>
                    <a:pt x="66851" y="83871"/>
                  </a:lnTo>
                  <a:lnTo>
                    <a:pt x="63400" y="73589"/>
                  </a:lnTo>
                  <a:lnTo>
                    <a:pt x="62543" y="50935"/>
                  </a:lnTo>
                  <a:lnTo>
                    <a:pt x="71838" y="58730"/>
                  </a:lnTo>
                  <a:lnTo>
                    <a:pt x="74229" y="2159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 130"/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7615348" y="4585689"/>
              <a:ext cx="346697" cy="189081"/>
            </a:xfrm>
            <a:custGeom>
              <a:avLst/>
              <a:gdLst/>
              <a:ahLst/>
              <a:cxnLst/>
              <a:rect l="l" t="t" r="r" b="b"/>
              <a:pathLst>
                <a:path w="346697" h="189081">
                  <a:moveTo>
                    <a:pt x="315131" y="58771"/>
                  </a:moveTo>
                  <a:lnTo>
                    <a:pt x="317614" y="65657"/>
                  </a:lnTo>
                  <a:lnTo>
                    <a:pt x="324605" y="70908"/>
                  </a:lnTo>
                  <a:lnTo>
                    <a:pt x="335797" y="85588"/>
                  </a:lnTo>
                  <a:lnTo>
                    <a:pt x="346697" y="93453"/>
                  </a:lnTo>
                  <a:lnTo>
                    <a:pt x="343466" y="99944"/>
                  </a:lnTo>
                  <a:lnTo>
                    <a:pt x="337002" y="102262"/>
                  </a:lnTo>
                  <a:lnTo>
                    <a:pt x="327008" y="93358"/>
                  </a:lnTo>
                  <a:lnTo>
                    <a:pt x="316902" y="78643"/>
                  </a:lnTo>
                  <a:lnTo>
                    <a:pt x="311938" y="61008"/>
                  </a:lnTo>
                  <a:close/>
                  <a:moveTo>
                    <a:pt x="257063" y="38100"/>
                  </a:moveTo>
                  <a:lnTo>
                    <a:pt x="261725" y="41897"/>
                  </a:lnTo>
                  <a:lnTo>
                    <a:pt x="261262" y="54727"/>
                  </a:lnTo>
                  <a:lnTo>
                    <a:pt x="253508" y="68853"/>
                  </a:lnTo>
                  <a:lnTo>
                    <a:pt x="241420" y="70757"/>
                  </a:lnTo>
                  <a:lnTo>
                    <a:pt x="237780" y="77251"/>
                  </a:lnTo>
                  <a:lnTo>
                    <a:pt x="225155" y="82880"/>
                  </a:lnTo>
                  <a:lnTo>
                    <a:pt x="213307" y="88302"/>
                  </a:lnTo>
                  <a:lnTo>
                    <a:pt x="201045" y="88273"/>
                  </a:lnTo>
                  <a:lnTo>
                    <a:pt x="182119" y="81543"/>
                  </a:lnTo>
                  <a:lnTo>
                    <a:pt x="168937" y="75083"/>
                  </a:lnTo>
                  <a:lnTo>
                    <a:pt x="170850" y="67920"/>
                  </a:lnTo>
                  <a:lnTo>
                    <a:pt x="191545" y="71300"/>
                  </a:lnTo>
                  <a:lnTo>
                    <a:pt x="204175" y="69489"/>
                  </a:lnTo>
                  <a:lnTo>
                    <a:pt x="207653" y="58393"/>
                  </a:lnTo>
                  <a:lnTo>
                    <a:pt x="210966" y="57820"/>
                  </a:lnTo>
                  <a:lnTo>
                    <a:pt x="213208" y="70107"/>
                  </a:lnTo>
                  <a:lnTo>
                    <a:pt x="226378" y="68339"/>
                  </a:lnTo>
                  <a:lnTo>
                    <a:pt x="232892" y="60420"/>
                  </a:lnTo>
                  <a:lnTo>
                    <a:pt x="245778" y="52169"/>
                  </a:lnTo>
                  <a:lnTo>
                    <a:pt x="243237" y="38540"/>
                  </a:lnTo>
                  <a:close/>
                  <a:moveTo>
                    <a:pt x="0" y="2313"/>
                  </a:moveTo>
                  <a:lnTo>
                    <a:pt x="40050" y="18231"/>
                  </a:lnTo>
                  <a:lnTo>
                    <a:pt x="82723" y="31457"/>
                  </a:lnTo>
                  <a:lnTo>
                    <a:pt x="98632" y="43302"/>
                  </a:lnTo>
                  <a:lnTo>
                    <a:pt x="111480" y="54931"/>
                  </a:lnTo>
                  <a:lnTo>
                    <a:pt x="114992" y="68565"/>
                  </a:lnTo>
                  <a:lnTo>
                    <a:pt x="153451" y="82878"/>
                  </a:lnTo>
                  <a:lnTo>
                    <a:pt x="159061" y="95168"/>
                  </a:lnTo>
                  <a:lnTo>
                    <a:pt x="137820" y="97664"/>
                  </a:lnTo>
                  <a:lnTo>
                    <a:pt x="142921" y="113120"/>
                  </a:lnTo>
                  <a:lnTo>
                    <a:pt x="163528" y="128353"/>
                  </a:lnTo>
                  <a:lnTo>
                    <a:pt x="178520" y="153010"/>
                  </a:lnTo>
                  <a:lnTo>
                    <a:pt x="191740" y="152237"/>
                  </a:lnTo>
                  <a:lnTo>
                    <a:pt x="190812" y="162548"/>
                  </a:lnTo>
                  <a:lnTo>
                    <a:pt x="208633" y="166506"/>
                  </a:lnTo>
                  <a:lnTo>
                    <a:pt x="201711" y="170901"/>
                  </a:lnTo>
                  <a:lnTo>
                    <a:pt x="226243" y="180710"/>
                  </a:lnTo>
                  <a:lnTo>
                    <a:pt x="223680" y="187453"/>
                  </a:lnTo>
                  <a:lnTo>
                    <a:pt x="208395" y="189081"/>
                  </a:lnTo>
                  <a:lnTo>
                    <a:pt x="202715" y="183032"/>
                  </a:lnTo>
                  <a:lnTo>
                    <a:pt x="182883" y="180412"/>
                  </a:lnTo>
                  <a:lnTo>
                    <a:pt x="159567" y="176903"/>
                  </a:lnTo>
                  <a:lnTo>
                    <a:pt x="141618" y="162037"/>
                  </a:lnTo>
                  <a:lnTo>
                    <a:pt x="128517" y="149238"/>
                  </a:lnTo>
                  <a:lnTo>
                    <a:pt x="116528" y="128894"/>
                  </a:lnTo>
                  <a:lnTo>
                    <a:pt x="86421" y="118739"/>
                  </a:lnTo>
                  <a:lnTo>
                    <a:pt x="66868" y="125362"/>
                  </a:lnTo>
                  <a:lnTo>
                    <a:pt x="52772" y="133032"/>
                  </a:lnTo>
                  <a:lnTo>
                    <a:pt x="55716" y="150181"/>
                  </a:lnTo>
                  <a:lnTo>
                    <a:pt x="37584" y="158181"/>
                  </a:lnTo>
                  <a:lnTo>
                    <a:pt x="24654" y="154288"/>
                  </a:lnTo>
                  <a:lnTo>
                    <a:pt x="777" y="153318"/>
                  </a:lnTo>
                  <a:lnTo>
                    <a:pt x="389" y="77674"/>
                  </a:lnTo>
                  <a:close/>
                  <a:moveTo>
                    <a:pt x="229437" y="0"/>
                  </a:moveTo>
                  <a:lnTo>
                    <a:pt x="241902" y="6467"/>
                  </a:lnTo>
                  <a:lnTo>
                    <a:pt x="249751" y="11549"/>
                  </a:lnTo>
                  <a:lnTo>
                    <a:pt x="259445" y="17095"/>
                  </a:lnTo>
                  <a:lnTo>
                    <a:pt x="268679" y="26801"/>
                  </a:lnTo>
                  <a:lnTo>
                    <a:pt x="277449" y="34198"/>
                  </a:lnTo>
                  <a:lnTo>
                    <a:pt x="280220" y="46222"/>
                  </a:lnTo>
                  <a:lnTo>
                    <a:pt x="273002" y="52385"/>
                  </a:lnTo>
                  <a:lnTo>
                    <a:pt x="268648" y="38733"/>
                  </a:lnTo>
                  <a:lnTo>
                    <a:pt x="263277" y="29800"/>
                  </a:lnTo>
                  <a:lnTo>
                    <a:pt x="252825" y="22226"/>
                  </a:lnTo>
                  <a:lnTo>
                    <a:pt x="239693" y="12368"/>
                  </a:lnTo>
                  <a:lnTo>
                    <a:pt x="223022" y="557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 131"/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4685564" y="3116120"/>
              <a:ext cx="229800" cy="179771"/>
            </a:xfrm>
            <a:custGeom>
              <a:avLst/>
              <a:gdLst/>
              <a:ahLst/>
              <a:cxnLst/>
              <a:rect l="0" t="0" r="0" b="0"/>
              <a:pathLst>
                <a:path w="229800" h="179771">
                  <a:moveTo>
                    <a:pt x="21755" y="117061"/>
                  </a:moveTo>
                  <a:lnTo>
                    <a:pt x="12293" y="97491"/>
                  </a:lnTo>
                  <a:lnTo>
                    <a:pt x="14092" y="86859"/>
                  </a:lnTo>
                  <a:lnTo>
                    <a:pt x="8381" y="70275"/>
                  </a:lnTo>
                  <a:lnTo>
                    <a:pt x="0" y="59162"/>
                  </a:lnTo>
                  <a:lnTo>
                    <a:pt x="6435" y="50806"/>
                  </a:lnTo>
                  <a:lnTo>
                    <a:pt x="1043" y="34797"/>
                  </a:lnTo>
                  <a:lnTo>
                    <a:pt x="16813" y="25510"/>
                  </a:lnTo>
                  <a:lnTo>
                    <a:pt x="52835" y="10812"/>
                  </a:lnTo>
                  <a:lnTo>
                    <a:pt x="81905" y="0"/>
                  </a:lnTo>
                  <a:lnTo>
                    <a:pt x="104942" y="5404"/>
                  </a:lnTo>
                  <a:lnTo>
                    <a:pt x="106682" y="13184"/>
                  </a:lnTo>
                  <a:lnTo>
                    <a:pt x="128943" y="13586"/>
                  </a:lnTo>
                  <a:lnTo>
                    <a:pt x="157371" y="17200"/>
                  </a:lnTo>
                  <a:lnTo>
                    <a:pt x="199817" y="16722"/>
                  </a:lnTo>
                  <a:lnTo>
                    <a:pt x="211656" y="20122"/>
                  </a:lnTo>
                  <a:lnTo>
                    <a:pt x="217199" y="29885"/>
                  </a:lnTo>
                  <a:lnTo>
                    <a:pt x="218201" y="43837"/>
                  </a:lnTo>
                  <a:lnTo>
                    <a:pt x="224604" y="55770"/>
                  </a:lnTo>
                  <a:lnTo>
                    <a:pt x="224472" y="68213"/>
                  </a:lnTo>
                  <a:lnTo>
                    <a:pt x="210629" y="74560"/>
                  </a:lnTo>
                  <a:lnTo>
                    <a:pt x="217750" y="88908"/>
                  </a:lnTo>
                  <a:lnTo>
                    <a:pt x="218190" y="102616"/>
                  </a:lnTo>
                  <a:lnTo>
                    <a:pt x="229799" y="129283"/>
                  </a:lnTo>
                  <a:lnTo>
                    <a:pt x="227324" y="137793"/>
                  </a:lnTo>
                  <a:lnTo>
                    <a:pt x="215869" y="141315"/>
                  </a:lnTo>
                  <a:lnTo>
                    <a:pt x="194909" y="166346"/>
                  </a:lnTo>
                  <a:lnTo>
                    <a:pt x="200863" y="179770"/>
                  </a:lnTo>
                  <a:lnTo>
                    <a:pt x="195824" y="178030"/>
                  </a:lnTo>
                  <a:lnTo>
                    <a:pt x="173889" y="166545"/>
                  </a:lnTo>
                  <a:lnTo>
                    <a:pt x="157272" y="170774"/>
                  </a:lnTo>
                  <a:lnTo>
                    <a:pt x="146375" y="167702"/>
                  </a:lnTo>
                  <a:lnTo>
                    <a:pt x="132737" y="174110"/>
                  </a:lnTo>
                  <a:lnTo>
                    <a:pt x="121096" y="163505"/>
                  </a:lnTo>
                  <a:lnTo>
                    <a:pt x="111606" y="167571"/>
                  </a:lnTo>
                  <a:lnTo>
                    <a:pt x="110303" y="165763"/>
                  </a:lnTo>
                  <a:lnTo>
                    <a:pt x="99680" y="150970"/>
                  </a:lnTo>
                  <a:lnTo>
                    <a:pt x="82519" y="149149"/>
                  </a:lnTo>
                  <a:lnTo>
                    <a:pt x="80329" y="139692"/>
                  </a:lnTo>
                  <a:lnTo>
                    <a:pt x="64499" y="136306"/>
                  </a:lnTo>
                  <a:lnTo>
                    <a:pt x="61053" y="144118"/>
                  </a:lnTo>
                  <a:lnTo>
                    <a:pt x="48514" y="137862"/>
                  </a:lnTo>
                  <a:lnTo>
                    <a:pt x="49954" y="129517"/>
                  </a:lnTo>
                  <a:lnTo>
                    <a:pt x="32696" y="12687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 132"/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7229070" y="3470184"/>
              <a:ext cx="150370" cy="145179"/>
            </a:xfrm>
            <a:custGeom>
              <a:avLst/>
              <a:gdLst/>
              <a:ahLst/>
              <a:cxnLst/>
              <a:rect l="0" t="0" r="0" b="0"/>
              <a:pathLst>
                <a:path w="150370" h="145179">
                  <a:moveTo>
                    <a:pt x="147138" y="16467"/>
                  </a:moveTo>
                  <a:lnTo>
                    <a:pt x="150369" y="21331"/>
                  </a:lnTo>
                  <a:lnTo>
                    <a:pt x="141598" y="19664"/>
                  </a:lnTo>
                  <a:lnTo>
                    <a:pt x="131578" y="29059"/>
                  </a:lnTo>
                  <a:lnTo>
                    <a:pt x="124686" y="38468"/>
                  </a:lnTo>
                  <a:lnTo>
                    <a:pt x="125559" y="58236"/>
                  </a:lnTo>
                  <a:lnTo>
                    <a:pt x="113624" y="64293"/>
                  </a:lnTo>
                  <a:lnTo>
                    <a:pt x="109522" y="69118"/>
                  </a:lnTo>
                  <a:lnTo>
                    <a:pt x="100819" y="77187"/>
                  </a:lnTo>
                  <a:lnTo>
                    <a:pt x="85447" y="81667"/>
                  </a:lnTo>
                  <a:lnTo>
                    <a:pt x="75429" y="88970"/>
                  </a:lnTo>
                  <a:lnTo>
                    <a:pt x="74707" y="100707"/>
                  </a:lnTo>
                  <a:lnTo>
                    <a:pt x="72013" y="103694"/>
                  </a:lnTo>
                  <a:lnTo>
                    <a:pt x="81198" y="108087"/>
                  </a:lnTo>
                  <a:lnTo>
                    <a:pt x="94271" y="119907"/>
                  </a:lnTo>
                  <a:lnTo>
                    <a:pt x="90948" y="126406"/>
                  </a:lnTo>
                  <a:lnTo>
                    <a:pt x="81122" y="128173"/>
                  </a:lnTo>
                  <a:lnTo>
                    <a:pt x="64808" y="129472"/>
                  </a:lnTo>
                  <a:lnTo>
                    <a:pt x="55816" y="141554"/>
                  </a:lnTo>
                  <a:lnTo>
                    <a:pt x="45512" y="140603"/>
                  </a:lnTo>
                  <a:lnTo>
                    <a:pt x="44067" y="143026"/>
                  </a:lnTo>
                  <a:lnTo>
                    <a:pt x="32857" y="137939"/>
                  </a:lnTo>
                  <a:lnTo>
                    <a:pt x="30072" y="142961"/>
                  </a:lnTo>
                  <a:lnTo>
                    <a:pt x="23306" y="145178"/>
                  </a:lnTo>
                  <a:lnTo>
                    <a:pt x="22493" y="140152"/>
                  </a:lnTo>
                  <a:lnTo>
                    <a:pt x="16513" y="137703"/>
                  </a:lnTo>
                  <a:lnTo>
                    <a:pt x="10307" y="133433"/>
                  </a:lnTo>
                  <a:lnTo>
                    <a:pt x="16627" y="121622"/>
                  </a:lnTo>
                  <a:lnTo>
                    <a:pt x="22074" y="118465"/>
                  </a:lnTo>
                  <a:lnTo>
                    <a:pt x="20018" y="113545"/>
                  </a:lnTo>
                  <a:lnTo>
                    <a:pt x="25875" y="98974"/>
                  </a:lnTo>
                  <a:lnTo>
                    <a:pt x="24363" y="94546"/>
                  </a:lnTo>
                  <a:lnTo>
                    <a:pt x="10891" y="91590"/>
                  </a:lnTo>
                  <a:lnTo>
                    <a:pt x="0" y="84305"/>
                  </a:lnTo>
                  <a:lnTo>
                    <a:pt x="18796" y="66810"/>
                  </a:lnTo>
                  <a:lnTo>
                    <a:pt x="44236" y="52071"/>
                  </a:lnTo>
                  <a:lnTo>
                    <a:pt x="60094" y="32513"/>
                  </a:lnTo>
                  <a:lnTo>
                    <a:pt x="71052" y="41172"/>
                  </a:lnTo>
                  <a:lnTo>
                    <a:pt x="91010" y="42175"/>
                  </a:lnTo>
                  <a:lnTo>
                    <a:pt x="87404" y="27592"/>
                  </a:lnTo>
                  <a:lnTo>
                    <a:pt x="123054" y="15633"/>
                  </a:lnTo>
                  <a:lnTo>
                    <a:pt x="132232" y="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 133"/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4140788" y="3489835"/>
              <a:ext cx="72422" cy="147628"/>
            </a:xfrm>
            <a:custGeom>
              <a:avLst/>
              <a:gdLst/>
              <a:ahLst/>
              <a:cxnLst/>
              <a:rect l="0" t="0" r="0" b="0"/>
              <a:pathLst>
                <a:path w="72422" h="147628">
                  <a:moveTo>
                    <a:pt x="11351" y="11091"/>
                  </a:moveTo>
                  <a:lnTo>
                    <a:pt x="19727" y="4048"/>
                  </a:lnTo>
                  <a:lnTo>
                    <a:pt x="29147" y="0"/>
                  </a:lnTo>
                  <a:lnTo>
                    <a:pt x="34933" y="13572"/>
                  </a:lnTo>
                  <a:lnTo>
                    <a:pt x="48567" y="13540"/>
                  </a:lnTo>
                  <a:lnTo>
                    <a:pt x="52519" y="10045"/>
                  </a:lnTo>
                  <a:lnTo>
                    <a:pt x="65969" y="11013"/>
                  </a:lnTo>
                  <a:lnTo>
                    <a:pt x="72421" y="24866"/>
                  </a:lnTo>
                  <a:lnTo>
                    <a:pt x="61756" y="32317"/>
                  </a:lnTo>
                  <a:lnTo>
                    <a:pt x="61459" y="53689"/>
                  </a:lnTo>
                  <a:lnTo>
                    <a:pt x="57710" y="57681"/>
                  </a:lnTo>
                  <a:lnTo>
                    <a:pt x="56783" y="70540"/>
                  </a:lnTo>
                  <a:lnTo>
                    <a:pt x="46810" y="72774"/>
                  </a:lnTo>
                  <a:lnTo>
                    <a:pt x="56057" y="88998"/>
                  </a:lnTo>
                  <a:lnTo>
                    <a:pt x="49685" y="106683"/>
                  </a:lnTo>
                  <a:lnTo>
                    <a:pt x="57644" y="114654"/>
                  </a:lnTo>
                  <a:lnTo>
                    <a:pt x="54476" y="121927"/>
                  </a:lnTo>
                  <a:lnTo>
                    <a:pt x="45922" y="131931"/>
                  </a:lnTo>
                  <a:lnTo>
                    <a:pt x="47847" y="140740"/>
                  </a:lnTo>
                  <a:lnTo>
                    <a:pt x="38570" y="147627"/>
                  </a:lnTo>
                  <a:lnTo>
                    <a:pt x="26401" y="143897"/>
                  </a:lnTo>
                  <a:lnTo>
                    <a:pt x="14489" y="146817"/>
                  </a:lnTo>
                  <a:lnTo>
                    <a:pt x="18015" y="126000"/>
                  </a:lnTo>
                  <a:lnTo>
                    <a:pt x="15848" y="109550"/>
                  </a:lnTo>
                  <a:lnTo>
                    <a:pt x="5519" y="107075"/>
                  </a:lnTo>
                  <a:lnTo>
                    <a:pt x="0" y="96887"/>
                  </a:lnTo>
                  <a:lnTo>
                    <a:pt x="1837" y="79211"/>
                  </a:lnTo>
                  <a:lnTo>
                    <a:pt x="11039" y="69367"/>
                  </a:lnTo>
                  <a:lnTo>
                    <a:pt x="12677" y="58369"/>
                  </a:lnTo>
                  <a:lnTo>
                    <a:pt x="17494" y="41935"/>
                  </a:lnTo>
                  <a:lnTo>
                    <a:pt x="16982" y="30303"/>
                  </a:lnTo>
                  <a:lnTo>
                    <a:pt x="12367" y="2040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 134"/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5531992" y="3911357"/>
              <a:ext cx="19916" cy="38345"/>
            </a:xfrm>
            <a:custGeom>
              <a:avLst/>
              <a:gdLst/>
              <a:ahLst/>
              <a:cxnLst/>
              <a:rect l="0" t="0" r="0" b="0"/>
              <a:pathLst>
                <a:path w="19916" h="38345">
                  <a:moveTo>
                    <a:pt x="1528" y="33479"/>
                  </a:moveTo>
                  <a:lnTo>
                    <a:pt x="0" y="15592"/>
                  </a:lnTo>
                  <a:lnTo>
                    <a:pt x="6219" y="2658"/>
                  </a:lnTo>
                  <a:lnTo>
                    <a:pt x="12523" y="0"/>
                  </a:lnTo>
                  <a:lnTo>
                    <a:pt x="19508" y="7738"/>
                  </a:lnTo>
                  <a:lnTo>
                    <a:pt x="19915" y="22157"/>
                  </a:lnTo>
                  <a:lnTo>
                    <a:pt x="14904" y="36602"/>
                  </a:lnTo>
                  <a:lnTo>
                    <a:pt x="8506" y="3834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 135"/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4827423" y="3319811"/>
              <a:ext cx="217124" cy="130641"/>
            </a:xfrm>
            <a:custGeom>
              <a:avLst/>
              <a:gdLst/>
              <a:ahLst/>
              <a:cxnLst/>
              <a:rect l="0" t="0" r="0" b="0"/>
              <a:pathLst>
                <a:path w="217124" h="130641">
                  <a:moveTo>
                    <a:pt x="57483" y="9981"/>
                  </a:moveTo>
                  <a:lnTo>
                    <a:pt x="67448" y="3675"/>
                  </a:lnTo>
                  <a:lnTo>
                    <a:pt x="81730" y="6937"/>
                  </a:lnTo>
                  <a:lnTo>
                    <a:pt x="96528" y="7047"/>
                  </a:lnTo>
                  <a:lnTo>
                    <a:pt x="107245" y="14233"/>
                  </a:lnTo>
                  <a:lnTo>
                    <a:pt x="115126" y="9720"/>
                  </a:lnTo>
                  <a:lnTo>
                    <a:pt x="132165" y="6892"/>
                  </a:lnTo>
                  <a:lnTo>
                    <a:pt x="137971" y="0"/>
                  </a:lnTo>
                  <a:lnTo>
                    <a:pt x="147709" y="4"/>
                  </a:lnTo>
                  <a:lnTo>
                    <a:pt x="154745" y="2880"/>
                  </a:lnTo>
                  <a:lnTo>
                    <a:pt x="161894" y="11611"/>
                  </a:lnTo>
                  <a:lnTo>
                    <a:pt x="169218" y="23978"/>
                  </a:lnTo>
                  <a:lnTo>
                    <a:pt x="182534" y="41322"/>
                  </a:lnTo>
                  <a:lnTo>
                    <a:pt x="183272" y="54054"/>
                  </a:lnTo>
                  <a:lnTo>
                    <a:pt x="180835" y="66383"/>
                  </a:lnTo>
                  <a:lnTo>
                    <a:pt x="184969" y="79498"/>
                  </a:lnTo>
                  <a:lnTo>
                    <a:pt x="195270" y="84776"/>
                  </a:lnTo>
                  <a:lnTo>
                    <a:pt x="206117" y="80168"/>
                  </a:lnTo>
                  <a:lnTo>
                    <a:pt x="216587" y="85083"/>
                  </a:lnTo>
                  <a:lnTo>
                    <a:pt x="217123" y="92454"/>
                  </a:lnTo>
                  <a:lnTo>
                    <a:pt x="205930" y="98589"/>
                  </a:lnTo>
                  <a:lnTo>
                    <a:pt x="198918" y="95920"/>
                  </a:lnTo>
                  <a:lnTo>
                    <a:pt x="192461" y="130105"/>
                  </a:lnTo>
                  <a:lnTo>
                    <a:pt x="178888" y="127146"/>
                  </a:lnTo>
                  <a:lnTo>
                    <a:pt x="162091" y="116878"/>
                  </a:lnTo>
                  <a:lnTo>
                    <a:pt x="134917" y="123449"/>
                  </a:lnTo>
                  <a:lnTo>
                    <a:pt x="123471" y="130640"/>
                  </a:lnTo>
                  <a:lnTo>
                    <a:pt x="89571" y="129159"/>
                  </a:lnTo>
                  <a:lnTo>
                    <a:pt x="71835" y="124761"/>
                  </a:lnTo>
                  <a:lnTo>
                    <a:pt x="62892" y="126827"/>
                  </a:lnTo>
                  <a:lnTo>
                    <a:pt x="56251" y="115210"/>
                  </a:lnTo>
                  <a:lnTo>
                    <a:pt x="52024" y="110270"/>
                  </a:lnTo>
                  <a:lnTo>
                    <a:pt x="57372" y="105479"/>
                  </a:lnTo>
                  <a:lnTo>
                    <a:pt x="51678" y="101939"/>
                  </a:lnTo>
                  <a:lnTo>
                    <a:pt x="44432" y="108307"/>
                  </a:lnTo>
                  <a:lnTo>
                    <a:pt x="30973" y="100049"/>
                  </a:lnTo>
                  <a:lnTo>
                    <a:pt x="29161" y="88290"/>
                  </a:lnTo>
                  <a:lnTo>
                    <a:pt x="15098" y="81559"/>
                  </a:lnTo>
                  <a:lnTo>
                    <a:pt x="12510" y="72427"/>
                  </a:lnTo>
                  <a:lnTo>
                    <a:pt x="0" y="61109"/>
                  </a:lnTo>
                  <a:lnTo>
                    <a:pt x="18506" y="55659"/>
                  </a:lnTo>
                  <a:lnTo>
                    <a:pt x="32461" y="35974"/>
                  </a:lnTo>
                  <a:lnTo>
                    <a:pt x="43385" y="16144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 136"/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814506" y="2037516"/>
              <a:ext cx="3934206" cy="1483526"/>
            </a:xfrm>
            <a:custGeom>
              <a:avLst/>
              <a:gdLst/>
              <a:ahLst/>
              <a:cxnLst/>
              <a:rect l="l" t="t" r="r" b="b"/>
              <a:pathLst>
                <a:path w="3934206" h="1483526">
                  <a:moveTo>
                    <a:pt x="2839034" y="1094106"/>
                  </a:moveTo>
                  <a:lnTo>
                    <a:pt x="2845032" y="1115055"/>
                  </a:lnTo>
                  <a:lnTo>
                    <a:pt x="2853023" y="1145269"/>
                  </a:lnTo>
                  <a:lnTo>
                    <a:pt x="2852433" y="1175741"/>
                  </a:lnTo>
                  <a:lnTo>
                    <a:pt x="2861960" y="1206604"/>
                  </a:lnTo>
                  <a:lnTo>
                    <a:pt x="2885184" y="1259892"/>
                  </a:lnTo>
                  <a:lnTo>
                    <a:pt x="2851017" y="1250042"/>
                  </a:lnTo>
                  <a:lnTo>
                    <a:pt x="2836815" y="1292882"/>
                  </a:lnTo>
                  <a:lnTo>
                    <a:pt x="2859317" y="1322853"/>
                  </a:lnTo>
                  <a:lnTo>
                    <a:pt x="2858666" y="1343101"/>
                  </a:lnTo>
                  <a:lnTo>
                    <a:pt x="2841178" y="1325642"/>
                  </a:lnTo>
                  <a:lnTo>
                    <a:pt x="2826044" y="1348038"/>
                  </a:lnTo>
                  <a:lnTo>
                    <a:pt x="2821771" y="1323749"/>
                  </a:lnTo>
                  <a:lnTo>
                    <a:pt x="2824345" y="1295276"/>
                  </a:lnTo>
                  <a:lnTo>
                    <a:pt x="2821714" y="1263380"/>
                  </a:lnTo>
                  <a:lnTo>
                    <a:pt x="2827054" y="1240801"/>
                  </a:lnTo>
                  <a:lnTo>
                    <a:pt x="2828074" y="1200372"/>
                  </a:lnTo>
                  <a:lnTo>
                    <a:pt x="2814550" y="1170233"/>
                  </a:lnTo>
                  <a:lnTo>
                    <a:pt x="2816592" y="1127722"/>
                  </a:lnTo>
                  <a:lnTo>
                    <a:pt x="2837929" y="1113239"/>
                  </a:lnTo>
                  <a:lnTo>
                    <a:pt x="2828761" y="1098569"/>
                  </a:lnTo>
                  <a:close/>
                  <a:moveTo>
                    <a:pt x="37112" y="1067723"/>
                  </a:moveTo>
                  <a:lnTo>
                    <a:pt x="61286" y="1073353"/>
                  </a:lnTo>
                  <a:lnTo>
                    <a:pt x="71490" y="1078441"/>
                  </a:lnTo>
                  <a:lnTo>
                    <a:pt x="69026" y="1087196"/>
                  </a:lnTo>
                  <a:lnTo>
                    <a:pt x="70874" y="1095325"/>
                  </a:lnTo>
                  <a:lnTo>
                    <a:pt x="28428" y="1095803"/>
                  </a:lnTo>
                  <a:lnTo>
                    <a:pt x="0" y="1092189"/>
                  </a:lnTo>
                  <a:lnTo>
                    <a:pt x="5259" y="1078134"/>
                  </a:lnTo>
                  <a:close/>
                  <a:moveTo>
                    <a:pt x="3704019" y="465997"/>
                  </a:moveTo>
                  <a:lnTo>
                    <a:pt x="3723583" y="466086"/>
                  </a:lnTo>
                  <a:lnTo>
                    <a:pt x="3756969" y="478252"/>
                  </a:lnTo>
                  <a:lnTo>
                    <a:pt x="3754992" y="484040"/>
                  </a:lnTo>
                  <a:lnTo>
                    <a:pt x="3731212" y="494149"/>
                  </a:lnTo>
                  <a:lnTo>
                    <a:pt x="3701062" y="496705"/>
                  </a:lnTo>
                  <a:lnTo>
                    <a:pt x="3675749" y="498849"/>
                  </a:lnTo>
                  <a:lnTo>
                    <a:pt x="3671638" y="485475"/>
                  </a:lnTo>
                  <a:lnTo>
                    <a:pt x="3701062" y="467783"/>
                  </a:lnTo>
                  <a:close/>
                  <a:moveTo>
                    <a:pt x="2825352" y="365319"/>
                  </a:moveTo>
                  <a:lnTo>
                    <a:pt x="2858147" y="382421"/>
                  </a:lnTo>
                  <a:lnTo>
                    <a:pt x="2860941" y="394089"/>
                  </a:lnTo>
                  <a:lnTo>
                    <a:pt x="2825942" y="394399"/>
                  </a:lnTo>
                  <a:lnTo>
                    <a:pt x="2778635" y="389459"/>
                  </a:lnTo>
                  <a:lnTo>
                    <a:pt x="2774594" y="387110"/>
                  </a:lnTo>
                  <a:lnTo>
                    <a:pt x="2796490" y="369471"/>
                  </a:lnTo>
                  <a:close/>
                  <a:moveTo>
                    <a:pt x="2924525" y="290217"/>
                  </a:moveTo>
                  <a:lnTo>
                    <a:pt x="2967545" y="297259"/>
                  </a:lnTo>
                  <a:lnTo>
                    <a:pt x="3025469" y="309407"/>
                  </a:lnTo>
                  <a:lnTo>
                    <a:pt x="2998792" y="327599"/>
                  </a:lnTo>
                  <a:lnTo>
                    <a:pt x="2961895" y="323497"/>
                  </a:lnTo>
                  <a:lnTo>
                    <a:pt x="2919002" y="305289"/>
                  </a:lnTo>
                  <a:close/>
                  <a:moveTo>
                    <a:pt x="2750772" y="260076"/>
                  </a:moveTo>
                  <a:lnTo>
                    <a:pt x="2811723" y="262158"/>
                  </a:lnTo>
                  <a:lnTo>
                    <a:pt x="2895160" y="287140"/>
                  </a:lnTo>
                  <a:lnTo>
                    <a:pt x="2877010" y="321584"/>
                  </a:lnTo>
                  <a:lnTo>
                    <a:pt x="2791923" y="320311"/>
                  </a:lnTo>
                  <a:lnTo>
                    <a:pt x="2753643" y="331144"/>
                  </a:lnTo>
                  <a:lnTo>
                    <a:pt x="2707915" y="301173"/>
                  </a:lnTo>
                  <a:lnTo>
                    <a:pt x="2720319" y="268961"/>
                  </a:lnTo>
                  <a:close/>
                  <a:moveTo>
                    <a:pt x="1119427" y="221565"/>
                  </a:moveTo>
                  <a:lnTo>
                    <a:pt x="1135473" y="240603"/>
                  </a:lnTo>
                  <a:lnTo>
                    <a:pt x="1119970" y="255471"/>
                  </a:lnTo>
                  <a:lnTo>
                    <a:pt x="1038182" y="278925"/>
                  </a:lnTo>
                  <a:lnTo>
                    <a:pt x="967692" y="301210"/>
                  </a:lnTo>
                  <a:lnTo>
                    <a:pt x="895987" y="344926"/>
                  </a:lnTo>
                  <a:lnTo>
                    <a:pt x="861587" y="388743"/>
                  </a:lnTo>
                  <a:lnTo>
                    <a:pt x="825406" y="430972"/>
                  </a:lnTo>
                  <a:lnTo>
                    <a:pt x="830103" y="466723"/>
                  </a:lnTo>
                  <a:lnTo>
                    <a:pt x="874257" y="501393"/>
                  </a:lnTo>
                  <a:lnTo>
                    <a:pt x="860622" y="505066"/>
                  </a:lnTo>
                  <a:lnTo>
                    <a:pt x="785197" y="499624"/>
                  </a:lnTo>
                  <a:lnTo>
                    <a:pt x="779072" y="480913"/>
                  </a:lnTo>
                  <a:lnTo>
                    <a:pt x="737289" y="469528"/>
                  </a:lnTo>
                  <a:lnTo>
                    <a:pt x="733916" y="446390"/>
                  </a:lnTo>
                  <a:lnTo>
                    <a:pt x="757518" y="437122"/>
                  </a:lnTo>
                  <a:lnTo>
                    <a:pt x="756731" y="413368"/>
                  </a:lnTo>
                  <a:lnTo>
                    <a:pt x="802514" y="375627"/>
                  </a:lnTo>
                  <a:lnTo>
                    <a:pt x="781294" y="370154"/>
                  </a:lnTo>
                  <a:lnTo>
                    <a:pt x="836558" y="330412"/>
                  </a:lnTo>
                  <a:lnTo>
                    <a:pt x="830313" y="309530"/>
                  </a:lnTo>
                  <a:lnTo>
                    <a:pt x="881943" y="284949"/>
                  </a:lnTo>
                  <a:lnTo>
                    <a:pt x="958148" y="254602"/>
                  </a:lnTo>
                  <a:lnTo>
                    <a:pt x="1034974" y="245669"/>
                  </a:lnTo>
                  <a:lnTo>
                    <a:pt x="1074506" y="227850"/>
                  </a:lnTo>
                  <a:close/>
                  <a:moveTo>
                    <a:pt x="1954894" y="184460"/>
                  </a:moveTo>
                  <a:lnTo>
                    <a:pt x="1994481" y="200407"/>
                  </a:lnTo>
                  <a:lnTo>
                    <a:pt x="1963051" y="212448"/>
                  </a:lnTo>
                  <a:lnTo>
                    <a:pt x="2015337" y="219893"/>
                  </a:lnTo>
                  <a:lnTo>
                    <a:pt x="2021566" y="243709"/>
                  </a:lnTo>
                  <a:lnTo>
                    <a:pt x="2042658" y="232019"/>
                  </a:lnTo>
                  <a:lnTo>
                    <a:pt x="2110140" y="232662"/>
                  </a:lnTo>
                  <a:lnTo>
                    <a:pt x="2162174" y="256013"/>
                  </a:lnTo>
                  <a:lnTo>
                    <a:pt x="2180702" y="273753"/>
                  </a:lnTo>
                  <a:lnTo>
                    <a:pt x="2174959" y="298099"/>
                  </a:lnTo>
                  <a:lnTo>
                    <a:pt x="2149425" y="311820"/>
                  </a:lnTo>
                  <a:lnTo>
                    <a:pt x="2088765" y="337297"/>
                  </a:lnTo>
                  <a:lnTo>
                    <a:pt x="2071424" y="350778"/>
                  </a:lnTo>
                  <a:lnTo>
                    <a:pt x="2100047" y="357105"/>
                  </a:lnTo>
                  <a:lnTo>
                    <a:pt x="2134191" y="368454"/>
                  </a:lnTo>
                  <a:lnTo>
                    <a:pt x="2154973" y="359949"/>
                  </a:lnTo>
                  <a:lnTo>
                    <a:pt x="2166746" y="388654"/>
                  </a:lnTo>
                  <a:lnTo>
                    <a:pt x="2176885" y="377086"/>
                  </a:lnTo>
                  <a:lnTo>
                    <a:pt x="2213793" y="370018"/>
                  </a:lnTo>
                  <a:lnTo>
                    <a:pt x="2287855" y="377406"/>
                  </a:lnTo>
                  <a:lnTo>
                    <a:pt x="2293479" y="398177"/>
                  </a:lnTo>
                  <a:lnTo>
                    <a:pt x="2389980" y="404738"/>
                  </a:lnTo>
                  <a:lnTo>
                    <a:pt x="2391299" y="370817"/>
                  </a:lnTo>
                  <a:lnTo>
                    <a:pt x="2440285" y="378643"/>
                  </a:lnTo>
                  <a:lnTo>
                    <a:pt x="2477136" y="378398"/>
                  </a:lnTo>
                  <a:lnTo>
                    <a:pt x="2514410" y="401764"/>
                  </a:lnTo>
                  <a:lnTo>
                    <a:pt x="2525035" y="429779"/>
                  </a:lnTo>
                  <a:lnTo>
                    <a:pt x="2511380" y="447893"/>
                  </a:lnTo>
                  <a:lnTo>
                    <a:pt x="2540372" y="481490"/>
                  </a:lnTo>
                  <a:lnTo>
                    <a:pt x="2576671" y="498604"/>
                  </a:lnTo>
                  <a:lnTo>
                    <a:pt x="2598944" y="454071"/>
                  </a:lnTo>
                  <a:lnTo>
                    <a:pt x="2635972" y="473287"/>
                  </a:lnTo>
                  <a:lnTo>
                    <a:pt x="2675312" y="461827"/>
                  </a:lnTo>
                  <a:lnTo>
                    <a:pt x="2719990" y="474935"/>
                  </a:lnTo>
                  <a:lnTo>
                    <a:pt x="2736992" y="462990"/>
                  </a:lnTo>
                  <a:lnTo>
                    <a:pt x="2774749" y="468972"/>
                  </a:lnTo>
                  <a:lnTo>
                    <a:pt x="2758086" y="429020"/>
                  </a:lnTo>
                  <a:lnTo>
                    <a:pt x="2788561" y="410093"/>
                  </a:lnTo>
                  <a:lnTo>
                    <a:pt x="2997039" y="438397"/>
                  </a:lnTo>
                  <a:lnTo>
                    <a:pt x="3016687" y="463913"/>
                  </a:lnTo>
                  <a:lnTo>
                    <a:pt x="3077111" y="496285"/>
                  </a:lnTo>
                  <a:lnTo>
                    <a:pt x="3170319" y="488320"/>
                  </a:lnTo>
                  <a:lnTo>
                    <a:pt x="3216274" y="495255"/>
                  </a:lnTo>
                  <a:lnTo>
                    <a:pt x="3235491" y="512560"/>
                  </a:lnTo>
                  <a:lnTo>
                    <a:pt x="3232682" y="542801"/>
                  </a:lnTo>
                  <a:lnTo>
                    <a:pt x="3261118" y="554452"/>
                  </a:lnTo>
                  <a:lnTo>
                    <a:pt x="3292014" y="546079"/>
                  </a:lnTo>
                  <a:lnTo>
                    <a:pt x="3332949" y="545006"/>
                  </a:lnTo>
                  <a:lnTo>
                    <a:pt x="3376527" y="553035"/>
                  </a:lnTo>
                  <a:lnTo>
                    <a:pt x="3420276" y="548510"/>
                  </a:lnTo>
                  <a:lnTo>
                    <a:pt x="3460486" y="584562"/>
                  </a:lnTo>
                  <a:lnTo>
                    <a:pt x="3489090" y="571664"/>
                  </a:lnTo>
                  <a:lnTo>
                    <a:pt x="3470424" y="545640"/>
                  </a:lnTo>
                  <a:lnTo>
                    <a:pt x="3480701" y="527348"/>
                  </a:lnTo>
                  <a:lnTo>
                    <a:pt x="3554345" y="538880"/>
                  </a:lnTo>
                  <a:lnTo>
                    <a:pt x="3602361" y="536418"/>
                  </a:lnTo>
                  <a:lnTo>
                    <a:pt x="3668746" y="555972"/>
                  </a:lnTo>
                  <a:lnTo>
                    <a:pt x="3701062" y="573686"/>
                  </a:lnTo>
                  <a:lnTo>
                    <a:pt x="3757613" y="604316"/>
                  </a:lnTo>
                  <a:lnTo>
                    <a:pt x="3818130" y="643510"/>
                  </a:lnTo>
                  <a:lnTo>
                    <a:pt x="3816145" y="667638"/>
                  </a:lnTo>
                  <a:lnTo>
                    <a:pt x="3831713" y="677218"/>
                  </a:lnTo>
                  <a:lnTo>
                    <a:pt x="3826358" y="649113"/>
                  </a:lnTo>
                  <a:lnTo>
                    <a:pt x="3889016" y="654912"/>
                  </a:lnTo>
                  <a:lnTo>
                    <a:pt x="3934206" y="690938"/>
                  </a:lnTo>
                  <a:lnTo>
                    <a:pt x="3911320" y="707505"/>
                  </a:lnTo>
                  <a:lnTo>
                    <a:pt x="3873483" y="711419"/>
                  </a:lnTo>
                  <a:lnTo>
                    <a:pt x="3872912" y="748022"/>
                  </a:lnTo>
                  <a:lnTo>
                    <a:pt x="3863671" y="755735"/>
                  </a:lnTo>
                  <a:lnTo>
                    <a:pt x="3842054" y="754628"/>
                  </a:lnTo>
                  <a:lnTo>
                    <a:pt x="3824463" y="741682"/>
                  </a:lnTo>
                  <a:lnTo>
                    <a:pt x="3793772" y="730791"/>
                  </a:lnTo>
                  <a:lnTo>
                    <a:pt x="3788611" y="714487"/>
                  </a:lnTo>
                  <a:lnTo>
                    <a:pt x="3765169" y="708305"/>
                  </a:lnTo>
                  <a:lnTo>
                    <a:pt x="3738918" y="713209"/>
                  </a:lnTo>
                  <a:lnTo>
                    <a:pt x="3726376" y="699955"/>
                  </a:lnTo>
                  <a:lnTo>
                    <a:pt x="3731389" y="685785"/>
                  </a:lnTo>
                  <a:lnTo>
                    <a:pt x="3703744" y="694853"/>
                  </a:lnTo>
                  <a:lnTo>
                    <a:pt x="3714156" y="712696"/>
                  </a:lnTo>
                  <a:lnTo>
                    <a:pt x="3701062" y="728662"/>
                  </a:lnTo>
                  <a:lnTo>
                    <a:pt x="3700896" y="728864"/>
                  </a:lnTo>
                  <a:lnTo>
                    <a:pt x="3671220" y="745267"/>
                  </a:lnTo>
                  <a:lnTo>
                    <a:pt x="3641306" y="742540"/>
                  </a:lnTo>
                  <a:lnTo>
                    <a:pt x="3662121" y="762266"/>
                  </a:lnTo>
                  <a:lnTo>
                    <a:pt x="3675861" y="792443"/>
                  </a:lnTo>
                  <a:lnTo>
                    <a:pt x="3686527" y="802216"/>
                  </a:lnTo>
                  <a:lnTo>
                    <a:pt x="3689205" y="817140"/>
                  </a:lnTo>
                  <a:lnTo>
                    <a:pt x="3683247" y="826641"/>
                  </a:lnTo>
                  <a:lnTo>
                    <a:pt x="3640222" y="818831"/>
                  </a:lnTo>
                  <a:lnTo>
                    <a:pt x="3575706" y="845705"/>
                  </a:lnTo>
                  <a:lnTo>
                    <a:pt x="3555181" y="849836"/>
                  </a:lnTo>
                  <a:lnTo>
                    <a:pt x="3519862" y="874577"/>
                  </a:lnTo>
                  <a:lnTo>
                    <a:pt x="3486358" y="895966"/>
                  </a:lnTo>
                  <a:lnTo>
                    <a:pt x="3477871" y="911668"/>
                  </a:lnTo>
                  <a:lnTo>
                    <a:pt x="3444854" y="887719"/>
                  </a:lnTo>
                  <a:lnTo>
                    <a:pt x="3384713" y="914876"/>
                  </a:lnTo>
                  <a:lnTo>
                    <a:pt x="3374210" y="902067"/>
                  </a:lnTo>
                  <a:lnTo>
                    <a:pt x="3351976" y="916833"/>
                  </a:lnTo>
                  <a:lnTo>
                    <a:pt x="3321104" y="912118"/>
                  </a:lnTo>
                  <a:lnTo>
                    <a:pt x="3313667" y="934646"/>
                  </a:lnTo>
                  <a:lnTo>
                    <a:pt x="3285973" y="967389"/>
                  </a:lnTo>
                  <a:lnTo>
                    <a:pt x="3286795" y="980926"/>
                  </a:lnTo>
                  <a:lnTo>
                    <a:pt x="3313085" y="988396"/>
                  </a:lnTo>
                  <a:lnTo>
                    <a:pt x="3309993" y="1036350"/>
                  </a:lnTo>
                  <a:lnTo>
                    <a:pt x="3288564" y="1037557"/>
                  </a:lnTo>
                  <a:lnTo>
                    <a:pt x="3278682" y="1064659"/>
                  </a:lnTo>
                  <a:lnTo>
                    <a:pt x="3288285" y="1078488"/>
                  </a:lnTo>
                  <a:lnTo>
                    <a:pt x="3247919" y="1094791"/>
                  </a:lnTo>
                  <a:lnTo>
                    <a:pt x="3239909" y="1130839"/>
                  </a:lnTo>
                  <a:lnTo>
                    <a:pt x="3205498" y="1138470"/>
                  </a:lnTo>
                  <a:lnTo>
                    <a:pt x="3198578" y="1170009"/>
                  </a:lnTo>
                  <a:lnTo>
                    <a:pt x="3165307" y="1198582"/>
                  </a:lnTo>
                  <a:lnTo>
                    <a:pt x="3156772" y="1177484"/>
                  </a:lnTo>
                  <a:lnTo>
                    <a:pt x="3146888" y="1132205"/>
                  </a:lnTo>
                  <a:lnTo>
                    <a:pt x="3134004" y="1061586"/>
                  </a:lnTo>
                  <a:lnTo>
                    <a:pt x="3145101" y="1016420"/>
                  </a:lnTo>
                  <a:lnTo>
                    <a:pt x="3164577" y="996713"/>
                  </a:lnTo>
                  <a:lnTo>
                    <a:pt x="3165782" y="981162"/>
                  </a:lnTo>
                  <a:lnTo>
                    <a:pt x="3201652" y="973680"/>
                  </a:lnTo>
                  <a:lnTo>
                    <a:pt x="3242885" y="931107"/>
                  </a:lnTo>
                  <a:lnTo>
                    <a:pt x="3282620" y="895730"/>
                  </a:lnTo>
                  <a:lnTo>
                    <a:pt x="3324114" y="867882"/>
                  </a:lnTo>
                  <a:lnTo>
                    <a:pt x="3342670" y="817799"/>
                  </a:lnTo>
                  <a:lnTo>
                    <a:pt x="3314621" y="820828"/>
                  </a:lnTo>
                  <a:lnTo>
                    <a:pt x="3300759" y="850194"/>
                  </a:lnTo>
                  <a:lnTo>
                    <a:pt x="3242211" y="888739"/>
                  </a:lnTo>
                  <a:lnTo>
                    <a:pt x="3223303" y="845534"/>
                  </a:lnTo>
                  <a:lnTo>
                    <a:pt x="3163712" y="857549"/>
                  </a:lnTo>
                  <a:lnTo>
                    <a:pt x="3105945" y="915920"/>
                  </a:lnTo>
                  <a:lnTo>
                    <a:pt x="3125005" y="936897"/>
                  </a:lnTo>
                  <a:lnTo>
                    <a:pt x="3073486" y="945769"/>
                  </a:lnTo>
                  <a:lnTo>
                    <a:pt x="3037797" y="949258"/>
                  </a:lnTo>
                  <a:lnTo>
                    <a:pt x="3039469" y="924640"/>
                  </a:lnTo>
                  <a:lnTo>
                    <a:pt x="3003589" y="919438"/>
                  </a:lnTo>
                  <a:lnTo>
                    <a:pt x="2974991" y="936232"/>
                  </a:lnTo>
                  <a:lnTo>
                    <a:pt x="2904413" y="930370"/>
                  </a:lnTo>
                  <a:lnTo>
                    <a:pt x="2828485" y="940468"/>
                  </a:lnTo>
                  <a:lnTo>
                    <a:pt x="2753713" y="1005870"/>
                  </a:lnTo>
                  <a:lnTo>
                    <a:pt x="2665253" y="1082505"/>
                  </a:lnTo>
                  <a:lnTo>
                    <a:pt x="2701620" y="1086531"/>
                  </a:lnTo>
                  <a:lnTo>
                    <a:pt x="2712971" y="1106437"/>
                  </a:lnTo>
                  <a:lnTo>
                    <a:pt x="2735390" y="1113464"/>
                  </a:lnTo>
                  <a:lnTo>
                    <a:pt x="2750161" y="1097645"/>
                  </a:lnTo>
                  <a:lnTo>
                    <a:pt x="2775481" y="1099705"/>
                  </a:lnTo>
                  <a:lnTo>
                    <a:pt x="2808808" y="1134378"/>
                  </a:lnTo>
                  <a:lnTo>
                    <a:pt x="2809590" y="1160859"/>
                  </a:lnTo>
                  <a:lnTo>
                    <a:pt x="2791544" y="1191601"/>
                  </a:lnTo>
                  <a:lnTo>
                    <a:pt x="2789597" y="1227858"/>
                  </a:lnTo>
                  <a:lnTo>
                    <a:pt x="2779184" y="1275618"/>
                  </a:lnTo>
                  <a:lnTo>
                    <a:pt x="2744393" y="1318111"/>
                  </a:lnTo>
                  <a:lnTo>
                    <a:pt x="2736660" y="1338188"/>
                  </a:lnTo>
                  <a:lnTo>
                    <a:pt x="2705328" y="1371661"/>
                  </a:lnTo>
                  <a:lnTo>
                    <a:pt x="2674237" y="1404458"/>
                  </a:lnTo>
                  <a:lnTo>
                    <a:pt x="2659326" y="1421097"/>
                  </a:lnTo>
                  <a:lnTo>
                    <a:pt x="2628567" y="1437527"/>
                  </a:lnTo>
                  <a:lnTo>
                    <a:pt x="2614012" y="1437890"/>
                  </a:lnTo>
                  <a:lnTo>
                    <a:pt x="2599512" y="1424286"/>
                  </a:lnTo>
                  <a:lnTo>
                    <a:pt x="2568530" y="1444743"/>
                  </a:lnTo>
                  <a:lnTo>
                    <a:pt x="2564932" y="1453998"/>
                  </a:lnTo>
                  <a:lnTo>
                    <a:pt x="2561700" y="1449134"/>
                  </a:lnTo>
                  <a:lnTo>
                    <a:pt x="2561559" y="1434970"/>
                  </a:lnTo>
                  <a:lnTo>
                    <a:pt x="2573350" y="1434216"/>
                  </a:lnTo>
                  <a:lnTo>
                    <a:pt x="2576671" y="1400995"/>
                  </a:lnTo>
                  <a:lnTo>
                    <a:pt x="2570592" y="1376672"/>
                  </a:lnTo>
                  <a:lnTo>
                    <a:pt x="2590402" y="1366580"/>
                  </a:lnTo>
                  <a:lnTo>
                    <a:pt x="2618418" y="1371644"/>
                  </a:lnTo>
                  <a:lnTo>
                    <a:pt x="2633941" y="1343707"/>
                  </a:lnTo>
                  <a:lnTo>
                    <a:pt x="2641851" y="1311903"/>
                  </a:lnTo>
                  <a:lnTo>
                    <a:pt x="2650818" y="1301195"/>
                  </a:lnTo>
                  <a:lnTo>
                    <a:pt x="2662948" y="1274684"/>
                  </a:lnTo>
                  <a:lnTo>
                    <a:pt x="2624799" y="1283399"/>
                  </a:lnTo>
                  <a:lnTo>
                    <a:pt x="2604788" y="1295016"/>
                  </a:lnTo>
                  <a:lnTo>
                    <a:pt x="2569716" y="1294982"/>
                  </a:lnTo>
                  <a:lnTo>
                    <a:pt x="2560368" y="1267228"/>
                  </a:lnTo>
                  <a:lnTo>
                    <a:pt x="2533027" y="1246032"/>
                  </a:lnTo>
                  <a:lnTo>
                    <a:pt x="2492854" y="1236444"/>
                  </a:lnTo>
                  <a:lnTo>
                    <a:pt x="2484314" y="1206841"/>
                  </a:lnTo>
                  <a:lnTo>
                    <a:pt x="2476275" y="1188105"/>
                  </a:lnTo>
                  <a:lnTo>
                    <a:pt x="2467624" y="1174891"/>
                  </a:lnTo>
                  <a:lnTo>
                    <a:pt x="2453359" y="1143647"/>
                  </a:lnTo>
                  <a:lnTo>
                    <a:pt x="2433089" y="1132140"/>
                  </a:lnTo>
                  <a:lnTo>
                    <a:pt x="2398540" y="1122796"/>
                  </a:lnTo>
                  <a:lnTo>
                    <a:pt x="2367938" y="1123647"/>
                  </a:lnTo>
                  <a:lnTo>
                    <a:pt x="2339255" y="1129308"/>
                  </a:lnTo>
                  <a:lnTo>
                    <a:pt x="2320189" y="1144860"/>
                  </a:lnTo>
                  <a:lnTo>
                    <a:pt x="2332854" y="1152255"/>
                  </a:lnTo>
                  <a:lnTo>
                    <a:pt x="2333140" y="1169348"/>
                  </a:lnTo>
                  <a:lnTo>
                    <a:pt x="2320303" y="1179219"/>
                  </a:lnTo>
                  <a:lnTo>
                    <a:pt x="2299467" y="1211605"/>
                  </a:lnTo>
                  <a:lnTo>
                    <a:pt x="2299677" y="1224921"/>
                  </a:lnTo>
                  <a:lnTo>
                    <a:pt x="2267148" y="1243924"/>
                  </a:lnTo>
                  <a:lnTo>
                    <a:pt x="2239438" y="1232587"/>
                  </a:lnTo>
                  <a:lnTo>
                    <a:pt x="2211898" y="1235094"/>
                  </a:lnTo>
                  <a:lnTo>
                    <a:pt x="2199813" y="1225001"/>
                  </a:lnTo>
                  <a:lnTo>
                    <a:pt x="2185971" y="1221738"/>
                  </a:lnTo>
                  <a:lnTo>
                    <a:pt x="2152162" y="1242947"/>
                  </a:lnTo>
                  <a:lnTo>
                    <a:pt x="2121773" y="1247906"/>
                  </a:lnTo>
                  <a:lnTo>
                    <a:pt x="2100555" y="1255310"/>
                  </a:lnTo>
                  <a:lnTo>
                    <a:pt x="2071481" y="1250448"/>
                  </a:lnTo>
                  <a:lnTo>
                    <a:pt x="2050076" y="1250759"/>
                  </a:lnTo>
                  <a:lnTo>
                    <a:pt x="2036066" y="1235439"/>
                  </a:lnTo>
                  <a:lnTo>
                    <a:pt x="2013459" y="1220952"/>
                  </a:lnTo>
                  <a:lnTo>
                    <a:pt x="1990326" y="1216967"/>
                  </a:lnTo>
                  <a:lnTo>
                    <a:pt x="1961125" y="1220921"/>
                  </a:lnTo>
                  <a:lnTo>
                    <a:pt x="1939312" y="1226518"/>
                  </a:lnTo>
                  <a:lnTo>
                    <a:pt x="1906519" y="1213800"/>
                  </a:lnTo>
                  <a:lnTo>
                    <a:pt x="1902118" y="1190981"/>
                  </a:lnTo>
                  <a:lnTo>
                    <a:pt x="1874978" y="1183110"/>
                  </a:lnTo>
                  <a:lnTo>
                    <a:pt x="1854025" y="1179512"/>
                  </a:lnTo>
                  <a:lnTo>
                    <a:pt x="1828167" y="1166778"/>
                  </a:lnTo>
                  <a:lnTo>
                    <a:pt x="1804260" y="1198584"/>
                  </a:lnTo>
                  <a:lnTo>
                    <a:pt x="1813631" y="1216471"/>
                  </a:lnTo>
                  <a:lnTo>
                    <a:pt x="1791195" y="1237472"/>
                  </a:lnTo>
                  <a:lnTo>
                    <a:pt x="1757824" y="1229910"/>
                  </a:lnTo>
                  <a:lnTo>
                    <a:pt x="1734785" y="1228826"/>
                  </a:lnTo>
                  <a:lnTo>
                    <a:pt x="1719357" y="1214710"/>
                  </a:lnTo>
                  <a:lnTo>
                    <a:pt x="1695274" y="1214263"/>
                  </a:lnTo>
                  <a:lnTo>
                    <a:pt x="1675203" y="1204944"/>
                  </a:lnTo>
                  <a:lnTo>
                    <a:pt x="1640094" y="1219213"/>
                  </a:lnTo>
                  <a:lnTo>
                    <a:pt x="1596050" y="1245136"/>
                  </a:lnTo>
                  <a:lnTo>
                    <a:pt x="1571714" y="1250321"/>
                  </a:lnTo>
                  <a:lnTo>
                    <a:pt x="1562681" y="1252777"/>
                  </a:lnTo>
                  <a:lnTo>
                    <a:pt x="1550433" y="1234448"/>
                  </a:lnTo>
                  <a:lnTo>
                    <a:pt x="1520701" y="1238469"/>
                  </a:lnTo>
                  <a:lnTo>
                    <a:pt x="1510874" y="1225694"/>
                  </a:lnTo>
                  <a:lnTo>
                    <a:pt x="1494735" y="1219830"/>
                  </a:lnTo>
                  <a:lnTo>
                    <a:pt x="1483626" y="1202294"/>
                  </a:lnTo>
                  <a:lnTo>
                    <a:pt x="1470882" y="1196809"/>
                  </a:lnTo>
                  <a:lnTo>
                    <a:pt x="1437712" y="1204640"/>
                  </a:lnTo>
                  <a:lnTo>
                    <a:pt x="1405914" y="1187050"/>
                  </a:lnTo>
                  <a:lnTo>
                    <a:pt x="1393614" y="1203040"/>
                  </a:lnTo>
                  <a:lnTo>
                    <a:pt x="1342033" y="1124505"/>
                  </a:lnTo>
                  <a:lnTo>
                    <a:pt x="1312585" y="1100108"/>
                  </a:lnTo>
                  <a:lnTo>
                    <a:pt x="1321032" y="1090136"/>
                  </a:lnTo>
                  <a:lnTo>
                    <a:pt x="1263180" y="1120026"/>
                  </a:lnTo>
                  <a:lnTo>
                    <a:pt x="1241041" y="1121820"/>
                  </a:lnTo>
                  <a:lnTo>
                    <a:pt x="1242953" y="1104591"/>
                  </a:lnTo>
                  <a:lnTo>
                    <a:pt x="1213306" y="1093763"/>
                  </a:lnTo>
                  <a:lnTo>
                    <a:pt x="1189208" y="1101495"/>
                  </a:lnTo>
                  <a:lnTo>
                    <a:pt x="1181939" y="1068391"/>
                  </a:lnTo>
                  <a:lnTo>
                    <a:pt x="1140458" y="1061449"/>
                  </a:lnTo>
                  <a:lnTo>
                    <a:pt x="1119705" y="1074794"/>
                  </a:lnTo>
                  <a:lnTo>
                    <a:pt x="1061947" y="1086605"/>
                  </a:lnTo>
                  <a:lnTo>
                    <a:pt x="1050675" y="1094476"/>
                  </a:lnTo>
                  <a:lnTo>
                    <a:pt x="964301" y="1105521"/>
                  </a:lnTo>
                  <a:lnTo>
                    <a:pt x="953716" y="1116304"/>
                  </a:lnTo>
                  <a:lnTo>
                    <a:pt x="970380" y="1137804"/>
                  </a:lnTo>
                  <a:lnTo>
                    <a:pt x="948221" y="1145916"/>
                  </a:lnTo>
                  <a:lnTo>
                    <a:pt x="952544" y="1154387"/>
                  </a:lnTo>
                  <a:lnTo>
                    <a:pt x="930390" y="1169462"/>
                  </a:lnTo>
                  <a:lnTo>
                    <a:pt x="967795" y="1190592"/>
                  </a:lnTo>
                  <a:lnTo>
                    <a:pt x="962011" y="1205039"/>
                  </a:lnTo>
                  <a:lnTo>
                    <a:pt x="929589" y="1203727"/>
                  </a:lnTo>
                  <a:lnTo>
                    <a:pt x="922883" y="1212742"/>
                  </a:lnTo>
                  <a:lnTo>
                    <a:pt x="893361" y="1196978"/>
                  </a:lnTo>
                  <a:lnTo>
                    <a:pt x="856767" y="1197591"/>
                  </a:lnTo>
                  <a:lnTo>
                    <a:pt x="832275" y="1210428"/>
                  </a:lnTo>
                  <a:lnTo>
                    <a:pt x="804944" y="1198119"/>
                  </a:lnTo>
                  <a:lnTo>
                    <a:pt x="754066" y="1176910"/>
                  </a:lnTo>
                  <a:lnTo>
                    <a:pt x="718010" y="1177706"/>
                  </a:lnTo>
                  <a:lnTo>
                    <a:pt x="670361" y="1210931"/>
                  </a:lnTo>
                  <a:lnTo>
                    <a:pt x="667486" y="1233002"/>
                  </a:lnTo>
                  <a:lnTo>
                    <a:pt x="643749" y="1215493"/>
                  </a:lnTo>
                  <a:lnTo>
                    <a:pt x="625332" y="1248563"/>
                  </a:lnTo>
                  <a:lnTo>
                    <a:pt x="632073" y="1254656"/>
                  </a:lnTo>
                  <a:lnTo>
                    <a:pt x="618749" y="1277173"/>
                  </a:lnTo>
                  <a:lnTo>
                    <a:pt x="638342" y="1297164"/>
                  </a:lnTo>
                  <a:lnTo>
                    <a:pt x="655470" y="1296344"/>
                  </a:lnTo>
                  <a:lnTo>
                    <a:pt x="670184" y="1315896"/>
                  </a:lnTo>
                  <a:lnTo>
                    <a:pt x="667842" y="1330859"/>
                  </a:lnTo>
                  <a:lnTo>
                    <a:pt x="679565" y="1335544"/>
                  </a:lnTo>
                  <a:lnTo>
                    <a:pt x="669046" y="1352658"/>
                  </a:lnTo>
                  <a:lnTo>
                    <a:pt x="646667" y="1357396"/>
                  </a:lnTo>
                  <a:lnTo>
                    <a:pt x="623725" y="1386886"/>
                  </a:lnTo>
                  <a:lnTo>
                    <a:pt x="644706" y="1413731"/>
                  </a:lnTo>
                  <a:lnTo>
                    <a:pt x="642434" y="1432633"/>
                  </a:lnTo>
                  <a:lnTo>
                    <a:pt x="667637" y="1465393"/>
                  </a:lnTo>
                  <a:lnTo>
                    <a:pt x="653854" y="1476522"/>
                  </a:lnTo>
                  <a:lnTo>
                    <a:pt x="649893" y="1483526"/>
                  </a:lnTo>
                  <a:lnTo>
                    <a:pt x="639682" y="1481647"/>
                  </a:lnTo>
                  <a:lnTo>
                    <a:pt x="623819" y="1464888"/>
                  </a:lnTo>
                  <a:lnTo>
                    <a:pt x="617330" y="1463960"/>
                  </a:lnTo>
                  <a:lnTo>
                    <a:pt x="602821" y="1457538"/>
                  </a:lnTo>
                  <a:lnTo>
                    <a:pt x="595755" y="1446135"/>
                  </a:lnTo>
                  <a:lnTo>
                    <a:pt x="574227" y="1440304"/>
                  </a:lnTo>
                  <a:lnTo>
                    <a:pt x="560229" y="1444682"/>
                  </a:lnTo>
                  <a:lnTo>
                    <a:pt x="556185" y="1439499"/>
                  </a:lnTo>
                  <a:lnTo>
                    <a:pt x="524756" y="1426089"/>
                  </a:lnTo>
                  <a:lnTo>
                    <a:pt x="490773" y="1421547"/>
                  </a:lnTo>
                  <a:lnTo>
                    <a:pt x="471263" y="1416743"/>
                  </a:lnTo>
                  <a:lnTo>
                    <a:pt x="468448" y="1420063"/>
                  </a:lnTo>
                  <a:lnTo>
                    <a:pt x="439017" y="1396227"/>
                  </a:lnTo>
                  <a:lnTo>
                    <a:pt x="412683" y="1385522"/>
                  </a:lnTo>
                  <a:lnTo>
                    <a:pt x="392747" y="1368768"/>
                  </a:lnTo>
                  <a:lnTo>
                    <a:pt x="409545" y="1364193"/>
                  </a:lnTo>
                  <a:lnTo>
                    <a:pt x="428698" y="1340128"/>
                  </a:lnTo>
                  <a:lnTo>
                    <a:pt x="415790" y="1328668"/>
                  </a:lnTo>
                  <a:lnTo>
                    <a:pt x="449812" y="1316796"/>
                  </a:lnTo>
                  <a:lnTo>
                    <a:pt x="449202" y="1310417"/>
                  </a:lnTo>
                  <a:lnTo>
                    <a:pt x="428481" y="1315122"/>
                  </a:lnTo>
                  <a:lnTo>
                    <a:pt x="429210" y="1302134"/>
                  </a:lnTo>
                  <a:lnTo>
                    <a:pt x="441108" y="1293939"/>
                  </a:lnTo>
                  <a:lnTo>
                    <a:pt x="463445" y="1291782"/>
                  </a:lnTo>
                  <a:lnTo>
                    <a:pt x="467077" y="1281953"/>
                  </a:lnTo>
                  <a:lnTo>
                    <a:pt x="461976" y="1265620"/>
                  </a:lnTo>
                  <a:lnTo>
                    <a:pt x="471351" y="1250015"/>
                  </a:lnTo>
                  <a:lnTo>
                    <a:pt x="471080" y="1241224"/>
                  </a:lnTo>
                  <a:lnTo>
                    <a:pt x="437055" y="1231445"/>
                  </a:lnTo>
                  <a:lnTo>
                    <a:pt x="423567" y="1231771"/>
                  </a:lnTo>
                  <a:lnTo>
                    <a:pt x="409321" y="1217635"/>
                  </a:lnTo>
                  <a:lnTo>
                    <a:pt x="391609" y="1222424"/>
                  </a:lnTo>
                  <a:lnTo>
                    <a:pt x="362293" y="1211779"/>
                  </a:lnTo>
                  <a:lnTo>
                    <a:pt x="362796" y="1205803"/>
                  </a:lnTo>
                  <a:lnTo>
                    <a:pt x="354585" y="1192582"/>
                  </a:lnTo>
                  <a:lnTo>
                    <a:pt x="336180" y="1191101"/>
                  </a:lnTo>
                  <a:lnTo>
                    <a:pt x="334267" y="1181589"/>
                  </a:lnTo>
                  <a:lnTo>
                    <a:pt x="340033" y="1175364"/>
                  </a:lnTo>
                  <a:lnTo>
                    <a:pt x="325282" y="1157876"/>
                  </a:lnTo>
                  <a:lnTo>
                    <a:pt x="301347" y="1160869"/>
                  </a:lnTo>
                  <a:lnTo>
                    <a:pt x="294337" y="1159313"/>
                  </a:lnTo>
                  <a:lnTo>
                    <a:pt x="288506" y="1166349"/>
                  </a:lnTo>
                  <a:lnTo>
                    <a:pt x="279885" y="1165100"/>
                  </a:lnTo>
                  <a:lnTo>
                    <a:pt x="274208" y="1145229"/>
                  </a:lnTo>
                  <a:lnTo>
                    <a:pt x="268787" y="1134865"/>
                  </a:lnTo>
                  <a:lnTo>
                    <a:pt x="273229" y="1131940"/>
                  </a:lnTo>
                  <a:lnTo>
                    <a:pt x="291854" y="1133027"/>
                  </a:lnTo>
                  <a:lnTo>
                    <a:pt x="300836" y="1126170"/>
                  </a:lnTo>
                  <a:lnTo>
                    <a:pt x="294187" y="1117783"/>
                  </a:lnTo>
                  <a:lnTo>
                    <a:pt x="278622" y="1112232"/>
                  </a:lnTo>
                  <a:lnTo>
                    <a:pt x="280011" y="1106522"/>
                  </a:lnTo>
                  <a:lnTo>
                    <a:pt x="270617" y="1100741"/>
                  </a:lnTo>
                  <a:lnTo>
                    <a:pt x="256146" y="1079876"/>
                  </a:lnTo>
                  <a:lnTo>
                    <a:pt x="261092" y="1071225"/>
                  </a:lnTo>
                  <a:lnTo>
                    <a:pt x="258832" y="1056097"/>
                  </a:lnTo>
                  <a:lnTo>
                    <a:pt x="236266" y="1048374"/>
                  </a:lnTo>
                  <a:lnTo>
                    <a:pt x="224154" y="1052243"/>
                  </a:lnTo>
                  <a:lnTo>
                    <a:pt x="220875" y="1044191"/>
                  </a:lnTo>
                  <a:lnTo>
                    <a:pt x="196573" y="1036027"/>
                  </a:lnTo>
                  <a:lnTo>
                    <a:pt x="189154" y="1016703"/>
                  </a:lnTo>
                  <a:lnTo>
                    <a:pt x="187186" y="1000704"/>
                  </a:lnTo>
                  <a:lnTo>
                    <a:pt x="176064" y="993068"/>
                  </a:lnTo>
                  <a:lnTo>
                    <a:pt x="185955" y="982502"/>
                  </a:lnTo>
                  <a:lnTo>
                    <a:pt x="179110" y="951164"/>
                  </a:lnTo>
                  <a:lnTo>
                    <a:pt x="195534" y="931583"/>
                  </a:lnTo>
                  <a:lnTo>
                    <a:pt x="192059" y="925618"/>
                  </a:lnTo>
                  <a:lnTo>
                    <a:pt x="218294" y="906626"/>
                  </a:lnTo>
                  <a:lnTo>
                    <a:pt x="194110" y="890155"/>
                  </a:lnTo>
                  <a:lnTo>
                    <a:pt x="243533" y="845319"/>
                  </a:lnTo>
                  <a:lnTo>
                    <a:pt x="264974" y="824722"/>
                  </a:lnTo>
                  <a:lnTo>
                    <a:pt x="273655" y="806373"/>
                  </a:lnTo>
                  <a:lnTo>
                    <a:pt x="239488" y="781474"/>
                  </a:lnTo>
                  <a:lnTo>
                    <a:pt x="248924" y="757519"/>
                  </a:lnTo>
                  <a:lnTo>
                    <a:pt x="228144" y="729825"/>
                  </a:lnTo>
                  <a:lnTo>
                    <a:pt x="243683" y="697463"/>
                  </a:lnTo>
                  <a:lnTo>
                    <a:pt x="216837" y="653700"/>
                  </a:lnTo>
                  <a:lnTo>
                    <a:pt x="238139" y="624190"/>
                  </a:lnTo>
                  <a:lnTo>
                    <a:pt x="202788" y="597752"/>
                  </a:lnTo>
                  <a:lnTo>
                    <a:pt x="206158" y="569594"/>
                  </a:lnTo>
                  <a:lnTo>
                    <a:pt x="224800" y="565859"/>
                  </a:lnTo>
                  <a:lnTo>
                    <a:pt x="264076" y="549515"/>
                  </a:lnTo>
                  <a:lnTo>
                    <a:pt x="287889" y="535236"/>
                  </a:lnTo>
                  <a:lnTo>
                    <a:pt x="325808" y="559988"/>
                  </a:lnTo>
                  <a:lnTo>
                    <a:pt x="389020" y="569649"/>
                  </a:lnTo>
                  <a:lnTo>
                    <a:pt x="476234" y="614940"/>
                  </a:lnTo>
                  <a:lnTo>
                    <a:pt x="493951" y="633675"/>
                  </a:lnTo>
                  <a:lnTo>
                    <a:pt x="495476" y="659625"/>
                  </a:lnTo>
                  <a:lnTo>
                    <a:pt x="469852" y="679882"/>
                  </a:lnTo>
                  <a:lnTo>
                    <a:pt x="432161" y="690087"/>
                  </a:lnTo>
                  <a:lnTo>
                    <a:pt x="329114" y="660863"/>
                  </a:lnTo>
                  <a:lnTo>
                    <a:pt x="312165" y="665778"/>
                  </a:lnTo>
                  <a:lnTo>
                    <a:pt x="349798" y="693878"/>
                  </a:lnTo>
                  <a:lnTo>
                    <a:pt x="351270" y="711483"/>
                  </a:lnTo>
                  <a:lnTo>
                    <a:pt x="352778" y="749745"/>
                  </a:lnTo>
                  <a:lnTo>
                    <a:pt x="382494" y="761029"/>
                  </a:lnTo>
                  <a:lnTo>
                    <a:pt x="400532" y="770589"/>
                  </a:lnTo>
                  <a:lnTo>
                    <a:pt x="403516" y="752698"/>
                  </a:lnTo>
                  <a:lnTo>
                    <a:pt x="389611" y="736714"/>
                  </a:lnTo>
                  <a:lnTo>
                    <a:pt x="404302" y="722525"/>
                  </a:lnTo>
                  <a:lnTo>
                    <a:pt x="460102" y="745792"/>
                  </a:lnTo>
                  <a:lnTo>
                    <a:pt x="479541" y="736714"/>
                  </a:lnTo>
                  <a:lnTo>
                    <a:pt x="464006" y="709192"/>
                  </a:lnTo>
                  <a:lnTo>
                    <a:pt x="517800" y="671807"/>
                  </a:lnTo>
                  <a:lnTo>
                    <a:pt x="539105" y="674026"/>
                  </a:lnTo>
                  <a:lnTo>
                    <a:pt x="560657" y="687430"/>
                  </a:lnTo>
                  <a:lnTo>
                    <a:pt x="574103" y="660990"/>
                  </a:lnTo>
                  <a:lnTo>
                    <a:pt x="554855" y="637778"/>
                  </a:lnTo>
                  <a:lnTo>
                    <a:pt x="566156" y="614223"/>
                  </a:lnTo>
                  <a:lnTo>
                    <a:pt x="549187" y="589501"/>
                  </a:lnTo>
                  <a:lnTo>
                    <a:pt x="613753" y="602324"/>
                  </a:lnTo>
                  <a:lnTo>
                    <a:pt x="626941" y="624518"/>
                  </a:lnTo>
                  <a:lnTo>
                    <a:pt x="597715" y="629378"/>
                  </a:lnTo>
                  <a:lnTo>
                    <a:pt x="597873" y="651143"/>
                  </a:lnTo>
                  <a:lnTo>
                    <a:pt x="616042" y="664420"/>
                  </a:lnTo>
                  <a:lnTo>
                    <a:pt x="651705" y="656020"/>
                  </a:lnTo>
                  <a:lnTo>
                    <a:pt x="657351" y="631113"/>
                  </a:lnTo>
                  <a:lnTo>
                    <a:pt x="705568" y="612314"/>
                  </a:lnTo>
                  <a:lnTo>
                    <a:pt x="786121" y="577976"/>
                  </a:lnTo>
                  <a:lnTo>
                    <a:pt x="803532" y="579960"/>
                  </a:lnTo>
                  <a:lnTo>
                    <a:pt x="780776" y="604264"/>
                  </a:lnTo>
                  <a:lnTo>
                    <a:pt x="809408" y="608411"/>
                  </a:lnTo>
                  <a:lnTo>
                    <a:pt x="825945" y="594793"/>
                  </a:lnTo>
                  <a:lnTo>
                    <a:pt x="869210" y="593688"/>
                  </a:lnTo>
                  <a:lnTo>
                    <a:pt x="903487" y="577030"/>
                  </a:lnTo>
                  <a:lnTo>
                    <a:pt x="929788" y="601191"/>
                  </a:lnTo>
                  <a:lnTo>
                    <a:pt x="956019" y="574613"/>
                  </a:lnTo>
                  <a:lnTo>
                    <a:pt x="931833" y="551074"/>
                  </a:lnTo>
                  <a:lnTo>
                    <a:pt x="943835" y="537540"/>
                  </a:lnTo>
                  <a:lnTo>
                    <a:pt x="1012022" y="549954"/>
                  </a:lnTo>
                  <a:lnTo>
                    <a:pt x="1043971" y="562696"/>
                  </a:lnTo>
                  <a:lnTo>
                    <a:pt x="1127623" y="608597"/>
                  </a:lnTo>
                  <a:lnTo>
                    <a:pt x="1143055" y="587702"/>
                  </a:lnTo>
                  <a:lnTo>
                    <a:pt x="1119597" y="566369"/>
                  </a:lnTo>
                  <a:lnTo>
                    <a:pt x="1118923" y="557746"/>
                  </a:lnTo>
                  <a:lnTo>
                    <a:pt x="1091105" y="553744"/>
                  </a:lnTo>
                  <a:lnTo>
                    <a:pt x="1098715" y="534297"/>
                  </a:lnTo>
                  <a:lnTo>
                    <a:pt x="1086369" y="501878"/>
                  </a:lnTo>
                  <a:lnTo>
                    <a:pt x="1085671" y="488423"/>
                  </a:lnTo>
                  <a:lnTo>
                    <a:pt x="1128267" y="449851"/>
                  </a:lnTo>
                  <a:lnTo>
                    <a:pt x="1143417" y="410359"/>
                  </a:lnTo>
                  <a:lnTo>
                    <a:pt x="1160582" y="401708"/>
                  </a:lnTo>
                  <a:lnTo>
                    <a:pt x="1221694" y="413300"/>
                  </a:lnTo>
                  <a:lnTo>
                    <a:pt x="1226506" y="437528"/>
                  </a:lnTo>
                  <a:lnTo>
                    <a:pt x="1204626" y="472328"/>
                  </a:lnTo>
                  <a:lnTo>
                    <a:pt x="1218984" y="485839"/>
                  </a:lnTo>
                  <a:lnTo>
                    <a:pt x="1226411" y="515146"/>
                  </a:lnTo>
                  <a:lnTo>
                    <a:pt x="1221167" y="571373"/>
                  </a:lnTo>
                  <a:lnTo>
                    <a:pt x="1246631" y="596023"/>
                  </a:lnTo>
                  <a:lnTo>
                    <a:pt x="1236724" y="622529"/>
                  </a:lnTo>
                  <a:lnTo>
                    <a:pt x="1191512" y="677816"/>
                  </a:lnTo>
                  <a:lnTo>
                    <a:pt x="1217896" y="683466"/>
                  </a:lnTo>
                  <a:lnTo>
                    <a:pt x="1227078" y="669632"/>
                  </a:lnTo>
                  <a:lnTo>
                    <a:pt x="1252474" y="659707"/>
                  </a:lnTo>
                  <a:lnTo>
                    <a:pt x="1258603" y="640446"/>
                  </a:lnTo>
                  <a:lnTo>
                    <a:pt x="1278580" y="621738"/>
                  </a:lnTo>
                  <a:lnTo>
                    <a:pt x="1265129" y="599174"/>
                  </a:lnTo>
                  <a:lnTo>
                    <a:pt x="1275899" y="572654"/>
                  </a:lnTo>
                  <a:lnTo>
                    <a:pt x="1250659" y="569324"/>
                  </a:lnTo>
                  <a:lnTo>
                    <a:pt x="1245108" y="546669"/>
                  </a:lnTo>
                  <a:lnTo>
                    <a:pt x="1263526" y="505107"/>
                  </a:lnTo>
                  <a:lnTo>
                    <a:pt x="1233548" y="470703"/>
                  </a:lnTo>
                  <a:lnTo>
                    <a:pt x="1274860" y="441804"/>
                  </a:lnTo>
                  <a:lnTo>
                    <a:pt x="1269515" y="410845"/>
                  </a:lnTo>
                  <a:lnTo>
                    <a:pt x="1281028" y="409849"/>
                  </a:lnTo>
                  <a:lnTo>
                    <a:pt x="1293157" y="434041"/>
                  </a:lnTo>
                  <a:lnTo>
                    <a:pt x="1284051" y="475448"/>
                  </a:lnTo>
                  <a:lnTo>
                    <a:pt x="1308752" y="483190"/>
                  </a:lnTo>
                  <a:lnTo>
                    <a:pt x="1298227" y="452452"/>
                  </a:lnTo>
                  <a:lnTo>
                    <a:pt x="1336856" y="435488"/>
                  </a:lnTo>
                  <a:lnTo>
                    <a:pt x="1384761" y="433193"/>
                  </a:lnTo>
                  <a:lnTo>
                    <a:pt x="1427418" y="457772"/>
                  </a:lnTo>
                  <a:lnTo>
                    <a:pt x="1406890" y="421761"/>
                  </a:lnTo>
                  <a:lnTo>
                    <a:pt x="1404591" y="374703"/>
                  </a:lnTo>
                  <a:lnTo>
                    <a:pt x="1444730" y="365660"/>
                  </a:lnTo>
                  <a:lnTo>
                    <a:pt x="1500249" y="367639"/>
                  </a:lnTo>
                  <a:lnTo>
                    <a:pt x="1550271" y="361752"/>
                  </a:lnTo>
                  <a:lnTo>
                    <a:pt x="1531510" y="338075"/>
                  </a:lnTo>
                  <a:lnTo>
                    <a:pt x="1558223" y="307909"/>
                  </a:lnTo>
                  <a:lnTo>
                    <a:pt x="1584742" y="306636"/>
                  </a:lnTo>
                  <a:lnTo>
                    <a:pt x="1629622" y="283515"/>
                  </a:lnTo>
                  <a:lnTo>
                    <a:pt x="1690573" y="277252"/>
                  </a:lnTo>
                  <a:lnTo>
                    <a:pt x="1698275" y="264323"/>
                  </a:lnTo>
                  <a:lnTo>
                    <a:pt x="1758885" y="259922"/>
                  </a:lnTo>
                  <a:lnTo>
                    <a:pt x="1777771" y="270552"/>
                  </a:lnTo>
                  <a:lnTo>
                    <a:pt x="1829577" y="245294"/>
                  </a:lnTo>
                  <a:lnTo>
                    <a:pt x="1871983" y="246089"/>
                  </a:lnTo>
                  <a:lnTo>
                    <a:pt x="1878345" y="225332"/>
                  </a:lnTo>
                  <a:lnTo>
                    <a:pt x="1900401" y="204634"/>
                  </a:lnTo>
                  <a:close/>
                  <a:moveTo>
                    <a:pt x="1902605" y="101148"/>
                  </a:moveTo>
                  <a:lnTo>
                    <a:pt x="1919952" y="104512"/>
                  </a:lnTo>
                  <a:lnTo>
                    <a:pt x="1978457" y="133586"/>
                  </a:lnTo>
                  <a:lnTo>
                    <a:pt x="1971603" y="154117"/>
                  </a:lnTo>
                  <a:lnTo>
                    <a:pt x="1841478" y="173402"/>
                  </a:lnTo>
                  <a:lnTo>
                    <a:pt x="1883645" y="106950"/>
                  </a:lnTo>
                  <a:close/>
                  <a:moveTo>
                    <a:pt x="701231" y="18017"/>
                  </a:moveTo>
                  <a:lnTo>
                    <a:pt x="735467" y="29832"/>
                  </a:lnTo>
                  <a:lnTo>
                    <a:pt x="726539" y="38005"/>
                  </a:lnTo>
                  <a:lnTo>
                    <a:pt x="695551" y="45045"/>
                  </a:lnTo>
                  <a:lnTo>
                    <a:pt x="674793" y="49083"/>
                  </a:lnTo>
                  <a:lnTo>
                    <a:pt x="671574" y="57788"/>
                  </a:lnTo>
                  <a:lnTo>
                    <a:pt x="644594" y="66515"/>
                  </a:lnTo>
                  <a:lnTo>
                    <a:pt x="619589" y="53986"/>
                  </a:lnTo>
                  <a:lnTo>
                    <a:pt x="632738" y="37355"/>
                  </a:lnTo>
                  <a:lnTo>
                    <a:pt x="581367" y="35728"/>
                  </a:lnTo>
                  <a:lnTo>
                    <a:pt x="626429" y="25948"/>
                  </a:lnTo>
                  <a:lnTo>
                    <a:pt x="661499" y="25297"/>
                  </a:lnTo>
                  <a:lnTo>
                    <a:pt x="666216" y="39754"/>
                  </a:lnTo>
                  <a:lnTo>
                    <a:pt x="679474" y="26914"/>
                  </a:lnTo>
                  <a:close/>
                  <a:moveTo>
                    <a:pt x="1760752" y="0"/>
                  </a:moveTo>
                  <a:lnTo>
                    <a:pt x="1805601" y="27291"/>
                  </a:lnTo>
                  <a:lnTo>
                    <a:pt x="1858755" y="78592"/>
                  </a:lnTo>
                  <a:lnTo>
                    <a:pt x="1853057" y="125054"/>
                  </a:lnTo>
                  <a:lnTo>
                    <a:pt x="1802695" y="131408"/>
                  </a:lnTo>
                  <a:lnTo>
                    <a:pt x="1738401" y="116676"/>
                  </a:lnTo>
                  <a:lnTo>
                    <a:pt x="1700091" y="97004"/>
                  </a:lnTo>
                  <a:lnTo>
                    <a:pt x="1682375" y="59464"/>
                  </a:lnTo>
                  <a:lnTo>
                    <a:pt x="1650882" y="48982"/>
                  </a:lnTo>
                  <a:lnTo>
                    <a:pt x="1710819" y="1229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 137"/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5030660" y="4554163"/>
              <a:ext cx="41347" cy="41179"/>
            </a:xfrm>
            <a:custGeom>
              <a:avLst/>
              <a:gdLst/>
              <a:ahLst/>
              <a:cxnLst/>
              <a:rect l="0" t="0" r="0" b="0"/>
              <a:pathLst>
                <a:path w="41347" h="41179">
                  <a:moveTo>
                    <a:pt x="32181" y="0"/>
                  </a:moveTo>
                  <a:lnTo>
                    <a:pt x="41346" y="13027"/>
                  </a:lnTo>
                  <a:lnTo>
                    <a:pt x="40011" y="26612"/>
                  </a:lnTo>
                  <a:lnTo>
                    <a:pt x="33349" y="29536"/>
                  </a:lnTo>
                  <a:lnTo>
                    <a:pt x="21084" y="28027"/>
                  </a:lnTo>
                  <a:lnTo>
                    <a:pt x="14016" y="41178"/>
                  </a:lnTo>
                  <a:lnTo>
                    <a:pt x="0" y="39362"/>
                  </a:lnTo>
                  <a:lnTo>
                    <a:pt x="2136" y="26727"/>
                  </a:lnTo>
                  <a:lnTo>
                    <a:pt x="5306" y="24946"/>
                  </a:lnTo>
                  <a:lnTo>
                    <a:pt x="6162" y="11206"/>
                  </a:lnTo>
                  <a:lnTo>
                    <a:pt x="12800" y="4770"/>
                  </a:lnTo>
                  <a:lnTo>
                    <a:pt x="18387" y="712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Freeform 138"/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3966817" y="3873102"/>
              <a:ext cx="193856" cy="163040"/>
            </a:xfrm>
            <a:custGeom>
              <a:avLst/>
              <a:gdLst/>
              <a:ahLst/>
              <a:cxnLst/>
              <a:rect l="0" t="0" r="0" b="0"/>
              <a:pathLst>
                <a:path w="193856" h="163040">
                  <a:moveTo>
                    <a:pt x="190860" y="13329"/>
                  </a:moveTo>
                  <a:lnTo>
                    <a:pt x="190330" y="0"/>
                  </a:lnTo>
                  <a:lnTo>
                    <a:pt x="193845" y="0"/>
                  </a:lnTo>
                  <a:lnTo>
                    <a:pt x="193855" y="1668"/>
                  </a:lnTo>
                  <a:lnTo>
                    <a:pt x="193410" y="6491"/>
                  </a:lnTo>
                  <a:lnTo>
                    <a:pt x="193343" y="44021"/>
                  </a:lnTo>
                  <a:lnTo>
                    <a:pt x="117583" y="42730"/>
                  </a:lnTo>
                  <a:lnTo>
                    <a:pt x="118326" y="105478"/>
                  </a:lnTo>
                  <a:lnTo>
                    <a:pt x="96698" y="107665"/>
                  </a:lnTo>
                  <a:lnTo>
                    <a:pt x="91054" y="120162"/>
                  </a:lnTo>
                  <a:lnTo>
                    <a:pt x="95431" y="155142"/>
                  </a:lnTo>
                  <a:lnTo>
                    <a:pt x="5037" y="154991"/>
                  </a:lnTo>
                  <a:lnTo>
                    <a:pt x="0" y="163039"/>
                  </a:lnTo>
                  <a:lnTo>
                    <a:pt x="992" y="152841"/>
                  </a:lnTo>
                  <a:lnTo>
                    <a:pt x="1395" y="152880"/>
                  </a:lnTo>
                  <a:lnTo>
                    <a:pt x="53378" y="150950"/>
                  </a:lnTo>
                  <a:lnTo>
                    <a:pt x="56151" y="142236"/>
                  </a:lnTo>
                  <a:lnTo>
                    <a:pt x="65607" y="131354"/>
                  </a:lnTo>
                  <a:lnTo>
                    <a:pt x="73226" y="97762"/>
                  </a:lnTo>
                  <a:lnTo>
                    <a:pt x="105314" y="71356"/>
                  </a:lnTo>
                  <a:lnTo>
                    <a:pt x="116168" y="40323"/>
                  </a:lnTo>
                  <a:lnTo>
                    <a:pt x="123381" y="38514"/>
                  </a:lnTo>
                  <a:lnTo>
                    <a:pt x="130899" y="19220"/>
                  </a:lnTo>
                  <a:lnTo>
                    <a:pt x="150318" y="16555"/>
                  </a:lnTo>
                  <a:lnTo>
                    <a:pt x="158670" y="19777"/>
                  </a:lnTo>
                  <a:lnTo>
                    <a:pt x="169152" y="19777"/>
                  </a:lnTo>
                  <a:lnTo>
                    <a:pt x="176591" y="1413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Freeform 139"/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5160094" y="3759323"/>
              <a:ext cx="485529" cy="387975"/>
            </a:xfrm>
            <a:custGeom>
              <a:avLst/>
              <a:gdLst/>
              <a:ahLst/>
              <a:cxnLst/>
              <a:rect l="0" t="0" r="0" b="0"/>
              <a:pathLst>
                <a:path w="485529" h="387975">
                  <a:moveTo>
                    <a:pt x="188054" y="387974"/>
                  </a:moveTo>
                  <a:lnTo>
                    <a:pt x="185059" y="377855"/>
                  </a:lnTo>
                  <a:lnTo>
                    <a:pt x="178097" y="370704"/>
                  </a:lnTo>
                  <a:lnTo>
                    <a:pt x="176318" y="361222"/>
                  </a:lnTo>
                  <a:lnTo>
                    <a:pt x="164395" y="352693"/>
                  </a:lnTo>
                  <a:lnTo>
                    <a:pt x="152093" y="332690"/>
                  </a:lnTo>
                  <a:lnTo>
                    <a:pt x="145582" y="313193"/>
                  </a:lnTo>
                  <a:lnTo>
                    <a:pt x="129616" y="296679"/>
                  </a:lnTo>
                  <a:lnTo>
                    <a:pt x="119322" y="292732"/>
                  </a:lnTo>
                  <a:lnTo>
                    <a:pt x="104035" y="269770"/>
                  </a:lnTo>
                  <a:lnTo>
                    <a:pt x="101364" y="252967"/>
                  </a:lnTo>
                  <a:lnTo>
                    <a:pt x="102348" y="238593"/>
                  </a:lnTo>
                  <a:lnTo>
                    <a:pt x="89108" y="211604"/>
                  </a:lnTo>
                  <a:lnTo>
                    <a:pt x="78285" y="202070"/>
                  </a:lnTo>
                  <a:lnTo>
                    <a:pt x="65815" y="197011"/>
                  </a:lnTo>
                  <a:lnTo>
                    <a:pt x="58225" y="182967"/>
                  </a:lnTo>
                  <a:lnTo>
                    <a:pt x="59487" y="177415"/>
                  </a:lnTo>
                  <a:lnTo>
                    <a:pt x="53073" y="164658"/>
                  </a:lnTo>
                  <a:lnTo>
                    <a:pt x="46332" y="159153"/>
                  </a:lnTo>
                  <a:lnTo>
                    <a:pt x="37320" y="140765"/>
                  </a:lnTo>
                  <a:lnTo>
                    <a:pt x="23263" y="120748"/>
                  </a:lnTo>
                  <a:lnTo>
                    <a:pt x="11491" y="103628"/>
                  </a:lnTo>
                  <a:lnTo>
                    <a:pt x="0" y="103748"/>
                  </a:lnTo>
                  <a:lnTo>
                    <a:pt x="3587" y="90018"/>
                  </a:lnTo>
                  <a:lnTo>
                    <a:pt x="4613" y="81238"/>
                  </a:lnTo>
                  <a:lnTo>
                    <a:pt x="7471" y="71206"/>
                  </a:lnTo>
                  <a:lnTo>
                    <a:pt x="33160" y="75208"/>
                  </a:lnTo>
                  <a:lnTo>
                    <a:pt x="43138" y="67462"/>
                  </a:lnTo>
                  <a:lnTo>
                    <a:pt x="48662" y="58383"/>
                  </a:lnTo>
                  <a:lnTo>
                    <a:pt x="66275" y="54885"/>
                  </a:lnTo>
                  <a:lnTo>
                    <a:pt x="70074" y="46414"/>
                  </a:lnTo>
                  <a:lnTo>
                    <a:pt x="77708" y="42112"/>
                  </a:lnTo>
                  <a:lnTo>
                    <a:pt x="54702" y="16685"/>
                  </a:lnTo>
                  <a:lnTo>
                    <a:pt x="100930" y="3862"/>
                  </a:lnTo>
                  <a:lnTo>
                    <a:pt x="105329" y="0"/>
                  </a:lnTo>
                  <a:lnTo>
                    <a:pt x="133133" y="6938"/>
                  </a:lnTo>
                  <a:lnTo>
                    <a:pt x="167525" y="24800"/>
                  </a:lnTo>
                  <a:lnTo>
                    <a:pt x="232607" y="75675"/>
                  </a:lnTo>
                  <a:lnTo>
                    <a:pt x="275523" y="77683"/>
                  </a:lnTo>
                  <a:lnTo>
                    <a:pt x="296092" y="80107"/>
                  </a:lnTo>
                  <a:lnTo>
                    <a:pt x="301840" y="92056"/>
                  </a:lnTo>
                  <a:lnTo>
                    <a:pt x="318165" y="91406"/>
                  </a:lnTo>
                  <a:lnTo>
                    <a:pt x="327202" y="112952"/>
                  </a:lnTo>
                  <a:lnTo>
                    <a:pt x="338558" y="118641"/>
                  </a:lnTo>
                  <a:lnTo>
                    <a:pt x="342514" y="127374"/>
                  </a:lnTo>
                  <a:lnTo>
                    <a:pt x="358245" y="137803"/>
                  </a:lnTo>
                  <a:lnTo>
                    <a:pt x="359642" y="148019"/>
                  </a:lnTo>
                  <a:lnTo>
                    <a:pt x="357342" y="156247"/>
                  </a:lnTo>
                  <a:lnTo>
                    <a:pt x="360263" y="164532"/>
                  </a:lnTo>
                  <a:lnTo>
                    <a:pt x="366900" y="171432"/>
                  </a:lnTo>
                  <a:lnTo>
                    <a:pt x="369974" y="179494"/>
                  </a:lnTo>
                  <a:lnTo>
                    <a:pt x="373426" y="185513"/>
                  </a:lnTo>
                  <a:lnTo>
                    <a:pt x="380404" y="190378"/>
                  </a:lnTo>
                  <a:lnTo>
                    <a:pt x="386802" y="188636"/>
                  </a:lnTo>
                  <a:lnTo>
                    <a:pt x="391186" y="197990"/>
                  </a:lnTo>
                  <a:lnTo>
                    <a:pt x="392067" y="203647"/>
                  </a:lnTo>
                  <a:lnTo>
                    <a:pt x="400908" y="228350"/>
                  </a:lnTo>
                  <a:lnTo>
                    <a:pt x="470297" y="240601"/>
                  </a:lnTo>
                  <a:lnTo>
                    <a:pt x="474949" y="235468"/>
                  </a:lnTo>
                  <a:lnTo>
                    <a:pt x="485528" y="252649"/>
                  </a:lnTo>
                  <a:lnTo>
                    <a:pt x="470139" y="300875"/>
                  </a:lnTo>
                  <a:lnTo>
                    <a:pt x="400892" y="324840"/>
                  </a:lnTo>
                  <a:lnTo>
                    <a:pt x="334337" y="334002"/>
                  </a:lnTo>
                  <a:lnTo>
                    <a:pt x="312793" y="344742"/>
                  </a:lnTo>
                  <a:lnTo>
                    <a:pt x="296251" y="369733"/>
                  </a:lnTo>
                  <a:lnTo>
                    <a:pt x="285478" y="373692"/>
                  </a:lnTo>
                  <a:lnTo>
                    <a:pt x="279707" y="365772"/>
                  </a:lnTo>
                  <a:lnTo>
                    <a:pt x="270859" y="366962"/>
                  </a:lnTo>
                  <a:lnTo>
                    <a:pt x="248546" y="364584"/>
                  </a:lnTo>
                  <a:lnTo>
                    <a:pt x="244314" y="362206"/>
                  </a:lnTo>
                  <a:lnTo>
                    <a:pt x="217675" y="362752"/>
                  </a:lnTo>
                  <a:lnTo>
                    <a:pt x="211418" y="364901"/>
                  </a:lnTo>
                  <a:lnTo>
                    <a:pt x="201937" y="358717"/>
                  </a:lnTo>
                  <a:lnTo>
                    <a:pt x="195821" y="370404"/>
                  </a:lnTo>
                  <a:lnTo>
                    <a:pt x="198188" y="38041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 140"/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4867047" y="4011972"/>
              <a:ext cx="380248" cy="316551"/>
            </a:xfrm>
            <a:custGeom>
              <a:avLst/>
              <a:gdLst/>
              <a:ahLst/>
              <a:cxnLst/>
              <a:rect l="0" t="0" r="0" b="0"/>
              <a:pathLst>
                <a:path w="380248" h="316551">
                  <a:moveTo>
                    <a:pt x="277606" y="296899"/>
                  </a:moveTo>
                  <a:lnTo>
                    <a:pt x="274410" y="296438"/>
                  </a:lnTo>
                  <a:lnTo>
                    <a:pt x="274807" y="284840"/>
                  </a:lnTo>
                  <a:lnTo>
                    <a:pt x="272032" y="276834"/>
                  </a:lnTo>
                  <a:lnTo>
                    <a:pt x="260144" y="267621"/>
                  </a:lnTo>
                  <a:lnTo>
                    <a:pt x="257370" y="250776"/>
                  </a:lnTo>
                  <a:lnTo>
                    <a:pt x="260144" y="233502"/>
                  </a:lnTo>
                  <a:lnTo>
                    <a:pt x="249445" y="231894"/>
                  </a:lnTo>
                  <a:lnTo>
                    <a:pt x="247860" y="237120"/>
                  </a:lnTo>
                  <a:lnTo>
                    <a:pt x="233991" y="238326"/>
                  </a:lnTo>
                  <a:lnTo>
                    <a:pt x="239539" y="245155"/>
                  </a:lnTo>
                  <a:lnTo>
                    <a:pt x="241520" y="259201"/>
                  </a:lnTo>
                  <a:lnTo>
                    <a:pt x="228839" y="272028"/>
                  </a:lnTo>
                  <a:lnTo>
                    <a:pt x="217347" y="288841"/>
                  </a:lnTo>
                  <a:lnTo>
                    <a:pt x="205459" y="291241"/>
                  </a:lnTo>
                  <a:lnTo>
                    <a:pt x="186042" y="277635"/>
                  </a:lnTo>
                  <a:lnTo>
                    <a:pt x="177324" y="282439"/>
                  </a:lnTo>
                  <a:lnTo>
                    <a:pt x="174947" y="289241"/>
                  </a:lnTo>
                  <a:lnTo>
                    <a:pt x="163059" y="293640"/>
                  </a:lnTo>
                  <a:lnTo>
                    <a:pt x="162266" y="298437"/>
                  </a:lnTo>
                  <a:lnTo>
                    <a:pt x="139282" y="298437"/>
                  </a:lnTo>
                  <a:lnTo>
                    <a:pt x="136112" y="293640"/>
                  </a:lnTo>
                  <a:lnTo>
                    <a:pt x="119469" y="292840"/>
                  </a:lnTo>
                  <a:lnTo>
                    <a:pt x="111147" y="296838"/>
                  </a:lnTo>
                  <a:lnTo>
                    <a:pt x="104807" y="294839"/>
                  </a:lnTo>
                  <a:lnTo>
                    <a:pt x="92919" y="281238"/>
                  </a:lnTo>
                  <a:lnTo>
                    <a:pt x="88956" y="274832"/>
                  </a:lnTo>
                  <a:lnTo>
                    <a:pt x="72313" y="278035"/>
                  </a:lnTo>
                  <a:lnTo>
                    <a:pt x="65973" y="288841"/>
                  </a:lnTo>
                  <a:lnTo>
                    <a:pt x="60029" y="309624"/>
                  </a:lnTo>
                  <a:lnTo>
                    <a:pt x="52103" y="314016"/>
                  </a:lnTo>
                  <a:lnTo>
                    <a:pt x="45015" y="316550"/>
                  </a:lnTo>
                  <a:lnTo>
                    <a:pt x="43141" y="315467"/>
                  </a:lnTo>
                  <a:lnTo>
                    <a:pt x="35136" y="308769"/>
                  </a:lnTo>
                  <a:lnTo>
                    <a:pt x="33653" y="301537"/>
                  </a:lnTo>
                  <a:lnTo>
                    <a:pt x="37404" y="291846"/>
                  </a:lnTo>
                  <a:lnTo>
                    <a:pt x="37336" y="282338"/>
                  </a:lnTo>
                  <a:lnTo>
                    <a:pt x="24023" y="267752"/>
                  </a:lnTo>
                  <a:lnTo>
                    <a:pt x="21406" y="257758"/>
                  </a:lnTo>
                  <a:lnTo>
                    <a:pt x="21684" y="252098"/>
                  </a:lnTo>
                  <a:lnTo>
                    <a:pt x="13200" y="245205"/>
                  </a:lnTo>
                  <a:lnTo>
                    <a:pt x="12945" y="231607"/>
                  </a:lnTo>
                  <a:lnTo>
                    <a:pt x="8106" y="222565"/>
                  </a:lnTo>
                  <a:lnTo>
                    <a:pt x="0" y="223922"/>
                  </a:lnTo>
                  <a:lnTo>
                    <a:pt x="2326" y="215308"/>
                  </a:lnTo>
                  <a:lnTo>
                    <a:pt x="8304" y="205521"/>
                  </a:lnTo>
                  <a:lnTo>
                    <a:pt x="5689" y="195786"/>
                  </a:lnTo>
                  <a:lnTo>
                    <a:pt x="13277" y="188570"/>
                  </a:lnTo>
                  <a:lnTo>
                    <a:pt x="8464" y="183069"/>
                  </a:lnTo>
                  <a:lnTo>
                    <a:pt x="14568" y="168514"/>
                  </a:lnTo>
                  <a:lnTo>
                    <a:pt x="25109" y="151118"/>
                  </a:lnTo>
                  <a:lnTo>
                    <a:pt x="45013" y="152771"/>
                  </a:lnTo>
                  <a:lnTo>
                    <a:pt x="43876" y="58291"/>
                  </a:lnTo>
                  <a:lnTo>
                    <a:pt x="44161" y="48225"/>
                  </a:lnTo>
                  <a:lnTo>
                    <a:pt x="70706" y="48152"/>
                  </a:lnTo>
                  <a:lnTo>
                    <a:pt x="70706" y="0"/>
                  </a:lnTo>
                  <a:lnTo>
                    <a:pt x="163499" y="0"/>
                  </a:lnTo>
                  <a:lnTo>
                    <a:pt x="253059" y="0"/>
                  </a:lnTo>
                  <a:lnTo>
                    <a:pt x="344611" y="0"/>
                  </a:lnTo>
                  <a:lnTo>
                    <a:pt x="352055" y="23709"/>
                  </a:lnTo>
                  <a:lnTo>
                    <a:pt x="346992" y="28082"/>
                  </a:lnTo>
                  <a:lnTo>
                    <a:pt x="350346" y="52835"/>
                  </a:lnTo>
                  <a:lnTo>
                    <a:pt x="358819" y="81415"/>
                  </a:lnTo>
                  <a:lnTo>
                    <a:pt x="367613" y="87294"/>
                  </a:lnTo>
                  <a:lnTo>
                    <a:pt x="380247" y="96106"/>
                  </a:lnTo>
                  <a:lnTo>
                    <a:pt x="368565" y="109695"/>
                  </a:lnTo>
                  <a:lnTo>
                    <a:pt x="351564" y="113604"/>
                  </a:lnTo>
                  <a:lnTo>
                    <a:pt x="344295" y="120887"/>
                  </a:lnTo>
                  <a:lnTo>
                    <a:pt x="342018" y="136653"/>
                  </a:lnTo>
                  <a:lnTo>
                    <a:pt x="332077" y="171387"/>
                  </a:lnTo>
                  <a:lnTo>
                    <a:pt x="334530" y="180825"/>
                  </a:lnTo>
                  <a:lnTo>
                    <a:pt x="330853" y="201032"/>
                  </a:lnTo>
                  <a:lnTo>
                    <a:pt x="321468" y="224154"/>
                  </a:lnTo>
                  <a:lnTo>
                    <a:pt x="307546" y="235761"/>
                  </a:lnTo>
                  <a:lnTo>
                    <a:pt x="297647" y="253632"/>
                  </a:lnTo>
                  <a:lnTo>
                    <a:pt x="295327" y="263183"/>
                  </a:lnTo>
                  <a:lnTo>
                    <a:pt x="284393" y="269722"/>
                  </a:lnTo>
                  <a:lnTo>
                    <a:pt x="277565" y="29412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 141"/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4912062" y="4243866"/>
              <a:ext cx="263398" cy="203072"/>
            </a:xfrm>
            <a:custGeom>
              <a:avLst/>
              <a:gdLst/>
              <a:ahLst/>
              <a:cxnLst/>
              <a:rect l="0" t="0" r="0" b="0"/>
              <a:pathLst>
                <a:path w="263398" h="203072">
                  <a:moveTo>
                    <a:pt x="232591" y="65005"/>
                  </a:moveTo>
                  <a:lnTo>
                    <a:pt x="232858" y="83149"/>
                  </a:lnTo>
                  <a:lnTo>
                    <a:pt x="229408" y="90249"/>
                  </a:lnTo>
                  <a:lnTo>
                    <a:pt x="217157" y="90820"/>
                  </a:lnTo>
                  <a:lnTo>
                    <a:pt x="209295" y="104052"/>
                  </a:lnTo>
                  <a:lnTo>
                    <a:pt x="223470" y="105715"/>
                  </a:lnTo>
                  <a:lnTo>
                    <a:pt x="235169" y="117027"/>
                  </a:lnTo>
                  <a:lnTo>
                    <a:pt x="239213" y="126301"/>
                  </a:lnTo>
                  <a:lnTo>
                    <a:pt x="249755" y="131677"/>
                  </a:lnTo>
                  <a:lnTo>
                    <a:pt x="263397" y="156886"/>
                  </a:lnTo>
                  <a:lnTo>
                    <a:pt x="247751" y="172135"/>
                  </a:lnTo>
                  <a:lnTo>
                    <a:pt x="233551" y="185948"/>
                  </a:lnTo>
                  <a:lnTo>
                    <a:pt x="219355" y="196580"/>
                  </a:lnTo>
                  <a:lnTo>
                    <a:pt x="203115" y="196527"/>
                  </a:lnTo>
                  <a:lnTo>
                    <a:pt x="184533" y="201936"/>
                  </a:lnTo>
                  <a:lnTo>
                    <a:pt x="169856" y="196768"/>
                  </a:lnTo>
                  <a:lnTo>
                    <a:pt x="160352" y="203071"/>
                  </a:lnTo>
                  <a:lnTo>
                    <a:pt x="140031" y="187710"/>
                  </a:lnTo>
                  <a:lnTo>
                    <a:pt x="134549" y="177833"/>
                  </a:lnTo>
                  <a:lnTo>
                    <a:pt x="121694" y="182725"/>
                  </a:lnTo>
                  <a:lnTo>
                    <a:pt x="111021" y="181203"/>
                  </a:lnTo>
                  <a:lnTo>
                    <a:pt x="104842" y="185087"/>
                  </a:lnTo>
                  <a:lnTo>
                    <a:pt x="94477" y="182282"/>
                  </a:lnTo>
                  <a:lnTo>
                    <a:pt x="80495" y="163184"/>
                  </a:lnTo>
                  <a:lnTo>
                    <a:pt x="76783" y="155845"/>
                  </a:lnTo>
                  <a:lnTo>
                    <a:pt x="59528" y="146680"/>
                  </a:lnTo>
                  <a:lnTo>
                    <a:pt x="53700" y="132780"/>
                  </a:lnTo>
                  <a:lnTo>
                    <a:pt x="44080" y="122748"/>
                  </a:lnTo>
                  <a:lnTo>
                    <a:pt x="28557" y="110665"/>
                  </a:lnTo>
                  <a:lnTo>
                    <a:pt x="28344" y="103120"/>
                  </a:lnTo>
                  <a:lnTo>
                    <a:pt x="15705" y="93734"/>
                  </a:lnTo>
                  <a:lnTo>
                    <a:pt x="0" y="84656"/>
                  </a:lnTo>
                  <a:lnTo>
                    <a:pt x="7088" y="82122"/>
                  </a:lnTo>
                  <a:lnTo>
                    <a:pt x="15014" y="77730"/>
                  </a:lnTo>
                  <a:lnTo>
                    <a:pt x="20958" y="56947"/>
                  </a:lnTo>
                  <a:lnTo>
                    <a:pt x="27298" y="46141"/>
                  </a:lnTo>
                  <a:lnTo>
                    <a:pt x="43941" y="42938"/>
                  </a:lnTo>
                  <a:lnTo>
                    <a:pt x="47904" y="49344"/>
                  </a:lnTo>
                  <a:lnTo>
                    <a:pt x="59792" y="62945"/>
                  </a:lnTo>
                  <a:lnTo>
                    <a:pt x="66132" y="64944"/>
                  </a:lnTo>
                  <a:lnTo>
                    <a:pt x="74454" y="60946"/>
                  </a:lnTo>
                  <a:lnTo>
                    <a:pt x="91097" y="61746"/>
                  </a:lnTo>
                  <a:lnTo>
                    <a:pt x="94267" y="66543"/>
                  </a:lnTo>
                  <a:lnTo>
                    <a:pt x="117251" y="66543"/>
                  </a:lnTo>
                  <a:lnTo>
                    <a:pt x="118044" y="61746"/>
                  </a:lnTo>
                  <a:lnTo>
                    <a:pt x="129932" y="57347"/>
                  </a:lnTo>
                  <a:lnTo>
                    <a:pt x="132309" y="50545"/>
                  </a:lnTo>
                  <a:lnTo>
                    <a:pt x="141027" y="45741"/>
                  </a:lnTo>
                  <a:lnTo>
                    <a:pt x="160444" y="59347"/>
                  </a:lnTo>
                  <a:lnTo>
                    <a:pt x="172332" y="56947"/>
                  </a:lnTo>
                  <a:lnTo>
                    <a:pt x="183824" y="40134"/>
                  </a:lnTo>
                  <a:lnTo>
                    <a:pt x="196505" y="27307"/>
                  </a:lnTo>
                  <a:lnTo>
                    <a:pt x="194524" y="13261"/>
                  </a:lnTo>
                  <a:lnTo>
                    <a:pt x="188976" y="6432"/>
                  </a:lnTo>
                  <a:lnTo>
                    <a:pt x="202845" y="5226"/>
                  </a:lnTo>
                  <a:lnTo>
                    <a:pt x="204430" y="0"/>
                  </a:lnTo>
                  <a:lnTo>
                    <a:pt x="215129" y="1608"/>
                  </a:lnTo>
                  <a:lnTo>
                    <a:pt x="212355" y="18882"/>
                  </a:lnTo>
                  <a:lnTo>
                    <a:pt x="215129" y="35727"/>
                  </a:lnTo>
                  <a:lnTo>
                    <a:pt x="227017" y="44940"/>
                  </a:lnTo>
                  <a:lnTo>
                    <a:pt x="229792" y="52946"/>
                  </a:lnTo>
                  <a:lnTo>
                    <a:pt x="229395" y="6454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 142"/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3953853" y="4141362"/>
              <a:ext cx="142125" cy="100535"/>
            </a:xfrm>
            <a:custGeom>
              <a:avLst/>
              <a:gdLst/>
              <a:ahLst/>
              <a:cxnLst/>
              <a:rect l="0" t="0" r="0" b="0"/>
              <a:pathLst>
                <a:path w="142125" h="100535">
                  <a:moveTo>
                    <a:pt x="21036" y="70899"/>
                  </a:moveTo>
                  <a:lnTo>
                    <a:pt x="11517" y="52580"/>
                  </a:lnTo>
                  <a:lnTo>
                    <a:pt x="0" y="44189"/>
                  </a:lnTo>
                  <a:lnTo>
                    <a:pt x="10154" y="39709"/>
                  </a:lnTo>
                  <a:lnTo>
                    <a:pt x="21337" y="23128"/>
                  </a:lnTo>
                  <a:lnTo>
                    <a:pt x="26821" y="10978"/>
                  </a:lnTo>
                  <a:lnTo>
                    <a:pt x="34725" y="3381"/>
                  </a:lnTo>
                  <a:lnTo>
                    <a:pt x="46197" y="5427"/>
                  </a:lnTo>
                  <a:lnTo>
                    <a:pt x="57460" y="260"/>
                  </a:lnTo>
                  <a:lnTo>
                    <a:pt x="70349" y="0"/>
                  </a:lnTo>
                  <a:lnTo>
                    <a:pt x="81379" y="6968"/>
                  </a:lnTo>
                  <a:lnTo>
                    <a:pt x="96701" y="13243"/>
                  </a:lnTo>
                  <a:lnTo>
                    <a:pt x="110668" y="30639"/>
                  </a:lnTo>
                  <a:lnTo>
                    <a:pt x="125900" y="46846"/>
                  </a:lnTo>
                  <a:lnTo>
                    <a:pt x="126959" y="61497"/>
                  </a:lnTo>
                  <a:lnTo>
                    <a:pt x="131510" y="74962"/>
                  </a:lnTo>
                  <a:lnTo>
                    <a:pt x="140150" y="81558"/>
                  </a:lnTo>
                  <a:lnTo>
                    <a:pt x="142124" y="90632"/>
                  </a:lnTo>
                  <a:lnTo>
                    <a:pt x="141061" y="97935"/>
                  </a:lnTo>
                  <a:lnTo>
                    <a:pt x="137729" y="99257"/>
                  </a:lnTo>
                  <a:lnTo>
                    <a:pt x="125143" y="97404"/>
                  </a:lnTo>
                  <a:lnTo>
                    <a:pt x="123411" y="100010"/>
                  </a:lnTo>
                  <a:lnTo>
                    <a:pt x="118322" y="100534"/>
                  </a:lnTo>
                  <a:lnTo>
                    <a:pt x="101731" y="94821"/>
                  </a:lnTo>
                  <a:lnTo>
                    <a:pt x="90590" y="94579"/>
                  </a:lnTo>
                  <a:lnTo>
                    <a:pt x="47933" y="93594"/>
                  </a:lnTo>
                  <a:lnTo>
                    <a:pt x="41745" y="96234"/>
                  </a:lnTo>
                  <a:lnTo>
                    <a:pt x="34101" y="95479"/>
                  </a:lnTo>
                  <a:lnTo>
                    <a:pt x="21873" y="99298"/>
                  </a:lnTo>
                  <a:lnTo>
                    <a:pt x="18086" y="81319"/>
                  </a:lnTo>
                  <a:lnTo>
                    <a:pt x="39097" y="81814"/>
                  </a:lnTo>
                  <a:lnTo>
                    <a:pt x="44643" y="78525"/>
                  </a:lnTo>
                  <a:lnTo>
                    <a:pt x="48779" y="78332"/>
                  </a:lnTo>
                  <a:lnTo>
                    <a:pt x="57335" y="72907"/>
                  </a:lnTo>
                  <a:lnTo>
                    <a:pt x="67236" y="77871"/>
                  </a:lnTo>
                  <a:lnTo>
                    <a:pt x="77266" y="78285"/>
                  </a:lnTo>
                  <a:lnTo>
                    <a:pt x="87255" y="73012"/>
                  </a:lnTo>
                  <a:lnTo>
                    <a:pt x="82591" y="66218"/>
                  </a:lnTo>
                  <a:lnTo>
                    <a:pt x="74981" y="70177"/>
                  </a:lnTo>
                  <a:lnTo>
                    <a:pt x="67817" y="70067"/>
                  </a:lnTo>
                  <a:lnTo>
                    <a:pt x="58707" y="64279"/>
                  </a:lnTo>
                  <a:lnTo>
                    <a:pt x="51389" y="64658"/>
                  </a:lnTo>
                  <a:lnTo>
                    <a:pt x="46176" y="7022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 143"/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7972926" y="4680516"/>
              <a:ext cx="136356" cy="98312"/>
            </a:xfrm>
            <a:custGeom>
              <a:avLst/>
              <a:gdLst/>
              <a:ahLst/>
              <a:cxnLst/>
              <a:rect l="l" t="t" r="r" b="b"/>
              <a:pathLst>
                <a:path w="136356" h="98312">
                  <a:moveTo>
                    <a:pt x="111453" y="83808"/>
                  </a:moveTo>
                  <a:lnTo>
                    <a:pt x="125247" y="89451"/>
                  </a:lnTo>
                  <a:lnTo>
                    <a:pt x="129901" y="90291"/>
                  </a:lnTo>
                  <a:lnTo>
                    <a:pt x="136356" y="98312"/>
                  </a:lnTo>
                  <a:lnTo>
                    <a:pt x="120230" y="98164"/>
                  </a:lnTo>
                  <a:close/>
                  <a:moveTo>
                    <a:pt x="74132" y="61400"/>
                  </a:moveTo>
                  <a:lnTo>
                    <a:pt x="89367" y="65063"/>
                  </a:lnTo>
                  <a:lnTo>
                    <a:pt x="96881" y="69950"/>
                  </a:lnTo>
                  <a:lnTo>
                    <a:pt x="100660" y="76073"/>
                  </a:lnTo>
                  <a:lnTo>
                    <a:pt x="91666" y="76592"/>
                  </a:lnTo>
                  <a:lnTo>
                    <a:pt x="77514" y="74234"/>
                  </a:lnTo>
                  <a:lnTo>
                    <a:pt x="72679" y="70645"/>
                  </a:lnTo>
                  <a:close/>
                  <a:moveTo>
                    <a:pt x="94377" y="39935"/>
                  </a:moveTo>
                  <a:lnTo>
                    <a:pt x="102225" y="39935"/>
                  </a:lnTo>
                  <a:lnTo>
                    <a:pt x="110534" y="58539"/>
                  </a:lnTo>
                  <a:lnTo>
                    <a:pt x="119767" y="69714"/>
                  </a:lnTo>
                  <a:lnTo>
                    <a:pt x="116291" y="74008"/>
                  </a:lnTo>
                  <a:lnTo>
                    <a:pt x="99184" y="53828"/>
                  </a:lnTo>
                  <a:close/>
                  <a:moveTo>
                    <a:pt x="43132" y="16714"/>
                  </a:moveTo>
                  <a:lnTo>
                    <a:pt x="53752" y="22284"/>
                  </a:lnTo>
                  <a:lnTo>
                    <a:pt x="72679" y="32965"/>
                  </a:lnTo>
                  <a:lnTo>
                    <a:pt x="78104" y="40337"/>
                  </a:lnTo>
                  <a:lnTo>
                    <a:pt x="79082" y="45009"/>
                  </a:lnTo>
                  <a:lnTo>
                    <a:pt x="60991" y="35153"/>
                  </a:lnTo>
                  <a:lnTo>
                    <a:pt x="48353" y="26807"/>
                  </a:lnTo>
                  <a:lnTo>
                    <a:pt x="39697" y="19078"/>
                  </a:lnTo>
                  <a:close/>
                  <a:moveTo>
                    <a:pt x="1188" y="0"/>
                  </a:moveTo>
                  <a:lnTo>
                    <a:pt x="14972" y="9792"/>
                  </a:lnTo>
                  <a:lnTo>
                    <a:pt x="24169" y="17359"/>
                  </a:lnTo>
                  <a:lnTo>
                    <a:pt x="19575" y="18681"/>
                  </a:lnTo>
                  <a:lnTo>
                    <a:pt x="9479" y="13393"/>
                  </a:lnTo>
                  <a:lnTo>
                    <a:pt x="0" y="386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 144"/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4054921" y="4295295"/>
              <a:ext cx="69629" cy="75805"/>
            </a:xfrm>
            <a:custGeom>
              <a:avLst/>
              <a:gdLst/>
              <a:ahLst/>
              <a:cxnLst/>
              <a:rect l="0" t="0" r="0" b="0"/>
              <a:pathLst>
                <a:path w="69629" h="75805">
                  <a:moveTo>
                    <a:pt x="41728" y="75804"/>
                  </a:moveTo>
                  <a:lnTo>
                    <a:pt x="35509" y="74084"/>
                  </a:lnTo>
                  <a:lnTo>
                    <a:pt x="18892" y="64739"/>
                  </a:lnTo>
                  <a:lnTo>
                    <a:pt x="6867" y="52305"/>
                  </a:lnTo>
                  <a:lnTo>
                    <a:pt x="2828" y="43820"/>
                  </a:lnTo>
                  <a:lnTo>
                    <a:pt x="0" y="26638"/>
                  </a:lnTo>
                  <a:lnTo>
                    <a:pt x="12340" y="16407"/>
                  </a:lnTo>
                  <a:lnTo>
                    <a:pt x="15000" y="9945"/>
                  </a:lnTo>
                  <a:lnTo>
                    <a:pt x="18942" y="4921"/>
                  </a:lnTo>
                  <a:lnTo>
                    <a:pt x="25303" y="4391"/>
                  </a:lnTo>
                  <a:lnTo>
                    <a:pt x="30683" y="0"/>
                  </a:lnTo>
                  <a:lnTo>
                    <a:pt x="49144" y="26"/>
                  </a:lnTo>
                  <a:lnTo>
                    <a:pt x="55569" y="8360"/>
                  </a:lnTo>
                  <a:lnTo>
                    <a:pt x="60572" y="18148"/>
                  </a:lnTo>
                  <a:lnTo>
                    <a:pt x="59825" y="24913"/>
                  </a:lnTo>
                  <a:lnTo>
                    <a:pt x="63529" y="30999"/>
                  </a:lnTo>
                  <a:lnTo>
                    <a:pt x="63271" y="39523"/>
                  </a:lnTo>
                  <a:lnTo>
                    <a:pt x="69628" y="38191"/>
                  </a:lnTo>
                  <a:lnTo>
                    <a:pt x="58883" y="49035"/>
                  </a:lnTo>
                  <a:lnTo>
                    <a:pt x="48470" y="61636"/>
                  </a:lnTo>
                  <a:lnTo>
                    <a:pt x="47244" y="6838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 145"/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5343056" y="4262259"/>
              <a:ext cx="147487" cy="80739"/>
            </a:xfrm>
            <a:custGeom>
              <a:avLst/>
              <a:gdLst/>
              <a:ahLst/>
              <a:cxnLst/>
              <a:rect l="0" t="0" r="0" b="0"/>
              <a:pathLst>
                <a:path w="147487" h="80739">
                  <a:moveTo>
                    <a:pt x="147253" y="46904"/>
                  </a:moveTo>
                  <a:lnTo>
                    <a:pt x="136834" y="61196"/>
                  </a:lnTo>
                  <a:lnTo>
                    <a:pt x="120738" y="80595"/>
                  </a:lnTo>
                  <a:lnTo>
                    <a:pt x="101324" y="80738"/>
                  </a:lnTo>
                  <a:lnTo>
                    <a:pt x="25853" y="53147"/>
                  </a:lnTo>
                  <a:lnTo>
                    <a:pt x="17040" y="44838"/>
                  </a:lnTo>
                  <a:lnTo>
                    <a:pt x="8526" y="33620"/>
                  </a:lnTo>
                  <a:lnTo>
                    <a:pt x="0" y="20777"/>
                  </a:lnTo>
                  <a:lnTo>
                    <a:pt x="5035" y="12506"/>
                  </a:lnTo>
                  <a:lnTo>
                    <a:pt x="13540" y="0"/>
                  </a:lnTo>
                  <a:lnTo>
                    <a:pt x="21050" y="4309"/>
                  </a:lnTo>
                  <a:lnTo>
                    <a:pt x="25574" y="13970"/>
                  </a:lnTo>
                  <a:lnTo>
                    <a:pt x="35987" y="23741"/>
                  </a:lnTo>
                  <a:lnTo>
                    <a:pt x="47447" y="23819"/>
                  </a:lnTo>
                  <a:lnTo>
                    <a:pt x="69207" y="17849"/>
                  </a:lnTo>
                  <a:lnTo>
                    <a:pt x="94331" y="15082"/>
                  </a:lnTo>
                  <a:lnTo>
                    <a:pt x="114650" y="7826"/>
                  </a:lnTo>
                  <a:lnTo>
                    <a:pt x="126097" y="6287"/>
                  </a:lnTo>
                  <a:lnTo>
                    <a:pt x="134342" y="2024"/>
                  </a:lnTo>
                  <a:lnTo>
                    <a:pt x="147486" y="1202"/>
                  </a:lnTo>
                  <a:lnTo>
                    <a:pt x="147343" y="1585"/>
                  </a:lnTo>
                  <a:lnTo>
                    <a:pt x="147262" y="11211"/>
                  </a:lnTo>
                  <a:lnTo>
                    <a:pt x="147256" y="3474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 146"/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5306639" y="4249096"/>
              <a:ext cx="234355" cy="317733"/>
            </a:xfrm>
            <a:custGeom>
              <a:avLst/>
              <a:gdLst/>
              <a:ahLst/>
              <a:cxnLst/>
              <a:rect l="0" t="0" r="0" b="0"/>
              <a:pathLst>
                <a:path w="234355" h="317733">
                  <a:moveTo>
                    <a:pt x="201917" y="10430"/>
                  </a:moveTo>
                  <a:lnTo>
                    <a:pt x="214155" y="8076"/>
                  </a:lnTo>
                  <a:lnTo>
                    <a:pt x="225078" y="64"/>
                  </a:lnTo>
                  <a:lnTo>
                    <a:pt x="233831" y="0"/>
                  </a:lnTo>
                  <a:lnTo>
                    <a:pt x="234354" y="6471"/>
                  </a:lnTo>
                  <a:lnTo>
                    <a:pt x="232223" y="20071"/>
                  </a:lnTo>
                  <a:lnTo>
                    <a:pt x="232310" y="32345"/>
                  </a:lnTo>
                  <a:lnTo>
                    <a:pt x="227436" y="40772"/>
                  </a:lnTo>
                  <a:lnTo>
                    <a:pt x="220932" y="65957"/>
                  </a:lnTo>
                  <a:lnTo>
                    <a:pt x="209818" y="91929"/>
                  </a:lnTo>
                  <a:lnTo>
                    <a:pt x="195548" y="121568"/>
                  </a:lnTo>
                  <a:lnTo>
                    <a:pt x="175740" y="155519"/>
                  </a:lnTo>
                  <a:lnTo>
                    <a:pt x="156033" y="181423"/>
                  </a:lnTo>
                  <a:lnTo>
                    <a:pt x="128887" y="212949"/>
                  </a:lnTo>
                  <a:lnTo>
                    <a:pt x="105786" y="231646"/>
                  </a:lnTo>
                  <a:lnTo>
                    <a:pt x="71258" y="254572"/>
                  </a:lnTo>
                  <a:lnTo>
                    <a:pt x="49741" y="272130"/>
                  </a:lnTo>
                  <a:lnTo>
                    <a:pt x="24479" y="300092"/>
                  </a:lnTo>
                  <a:lnTo>
                    <a:pt x="19156" y="312265"/>
                  </a:lnTo>
                  <a:lnTo>
                    <a:pt x="13944" y="317732"/>
                  </a:lnTo>
                  <a:lnTo>
                    <a:pt x="275" y="298687"/>
                  </a:lnTo>
                  <a:lnTo>
                    <a:pt x="0" y="214584"/>
                  </a:lnTo>
                  <a:lnTo>
                    <a:pt x="20175" y="188370"/>
                  </a:lnTo>
                  <a:lnTo>
                    <a:pt x="26489" y="181082"/>
                  </a:lnTo>
                  <a:lnTo>
                    <a:pt x="41286" y="180656"/>
                  </a:lnTo>
                  <a:lnTo>
                    <a:pt x="61857" y="164350"/>
                  </a:lnTo>
                  <a:lnTo>
                    <a:pt x="91928" y="163330"/>
                  </a:lnTo>
                  <a:lnTo>
                    <a:pt x="157155" y="93758"/>
                  </a:lnTo>
                  <a:lnTo>
                    <a:pt x="173251" y="74359"/>
                  </a:lnTo>
                  <a:lnTo>
                    <a:pt x="183670" y="60067"/>
                  </a:lnTo>
                  <a:lnTo>
                    <a:pt x="183673" y="47912"/>
                  </a:lnTo>
                  <a:lnTo>
                    <a:pt x="183679" y="24374"/>
                  </a:lnTo>
                  <a:lnTo>
                    <a:pt x="183760" y="14748"/>
                  </a:lnTo>
                  <a:lnTo>
                    <a:pt x="183903" y="14365"/>
                  </a:lnTo>
                  <a:lnTo>
                    <a:pt x="191279" y="1390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 147"/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4795329" y="3379642"/>
              <a:ext cx="95937" cy="111173"/>
            </a:xfrm>
            <a:custGeom>
              <a:avLst/>
              <a:gdLst/>
              <a:ahLst/>
              <a:cxnLst/>
              <a:rect l="0" t="0" r="0" b="0"/>
              <a:pathLst>
                <a:path w="95937" h="111173">
                  <a:moveTo>
                    <a:pt x="47192" y="21728"/>
                  </a:moveTo>
                  <a:lnTo>
                    <a:pt x="61255" y="28459"/>
                  </a:lnTo>
                  <a:lnTo>
                    <a:pt x="63067" y="40218"/>
                  </a:lnTo>
                  <a:lnTo>
                    <a:pt x="76526" y="48476"/>
                  </a:lnTo>
                  <a:lnTo>
                    <a:pt x="83772" y="42108"/>
                  </a:lnTo>
                  <a:lnTo>
                    <a:pt x="89466" y="45648"/>
                  </a:lnTo>
                  <a:lnTo>
                    <a:pt x="84118" y="50439"/>
                  </a:lnTo>
                  <a:lnTo>
                    <a:pt x="88345" y="55379"/>
                  </a:lnTo>
                  <a:lnTo>
                    <a:pt x="82650" y="61794"/>
                  </a:lnTo>
                  <a:lnTo>
                    <a:pt x="84721" y="72094"/>
                  </a:lnTo>
                  <a:lnTo>
                    <a:pt x="95936" y="84219"/>
                  </a:lnTo>
                  <a:lnTo>
                    <a:pt x="87137" y="92970"/>
                  </a:lnTo>
                  <a:lnTo>
                    <a:pt x="83254" y="101850"/>
                  </a:lnTo>
                  <a:lnTo>
                    <a:pt x="85757" y="105163"/>
                  </a:lnTo>
                  <a:lnTo>
                    <a:pt x="81960" y="109087"/>
                  </a:lnTo>
                  <a:lnTo>
                    <a:pt x="71262" y="109549"/>
                  </a:lnTo>
                  <a:lnTo>
                    <a:pt x="63404" y="111172"/>
                  </a:lnTo>
                  <a:lnTo>
                    <a:pt x="62635" y="109088"/>
                  </a:lnTo>
                  <a:lnTo>
                    <a:pt x="65396" y="105779"/>
                  </a:lnTo>
                  <a:lnTo>
                    <a:pt x="67984" y="98996"/>
                  </a:lnTo>
                  <a:lnTo>
                    <a:pt x="64705" y="99150"/>
                  </a:lnTo>
                  <a:lnTo>
                    <a:pt x="60219" y="93975"/>
                  </a:lnTo>
                  <a:lnTo>
                    <a:pt x="56423" y="92661"/>
                  </a:lnTo>
                  <a:lnTo>
                    <a:pt x="53404" y="88211"/>
                  </a:lnTo>
                  <a:lnTo>
                    <a:pt x="49090" y="86467"/>
                  </a:lnTo>
                  <a:lnTo>
                    <a:pt x="45811" y="82512"/>
                  </a:lnTo>
                  <a:lnTo>
                    <a:pt x="41670" y="84064"/>
                  </a:lnTo>
                  <a:lnTo>
                    <a:pt x="38478" y="93357"/>
                  </a:lnTo>
                  <a:lnTo>
                    <a:pt x="32957" y="95366"/>
                  </a:lnTo>
                  <a:lnTo>
                    <a:pt x="34854" y="92970"/>
                  </a:lnTo>
                  <a:lnTo>
                    <a:pt x="26055" y="87165"/>
                  </a:lnTo>
                  <a:lnTo>
                    <a:pt x="18470" y="84146"/>
                  </a:lnTo>
                  <a:lnTo>
                    <a:pt x="15098" y="80261"/>
                  </a:lnTo>
                  <a:lnTo>
                    <a:pt x="8972" y="75441"/>
                  </a:lnTo>
                  <a:lnTo>
                    <a:pt x="14408" y="74197"/>
                  </a:lnTo>
                  <a:lnTo>
                    <a:pt x="17773" y="60935"/>
                  </a:lnTo>
                  <a:lnTo>
                    <a:pt x="6643" y="50046"/>
                  </a:lnTo>
                  <a:lnTo>
                    <a:pt x="12423" y="37539"/>
                  </a:lnTo>
                  <a:lnTo>
                    <a:pt x="4055" y="37618"/>
                  </a:lnTo>
                  <a:lnTo>
                    <a:pt x="12941" y="26877"/>
                  </a:lnTo>
                  <a:lnTo>
                    <a:pt x="5608" y="18714"/>
                  </a:lnTo>
                  <a:lnTo>
                    <a:pt x="0" y="7580"/>
                  </a:lnTo>
                  <a:lnTo>
                    <a:pt x="17687" y="0"/>
                  </a:lnTo>
                  <a:lnTo>
                    <a:pt x="32094" y="1278"/>
                  </a:lnTo>
                  <a:lnTo>
                    <a:pt x="44604" y="1259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 148"/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4750322" y="3279625"/>
              <a:ext cx="131067" cy="53806"/>
            </a:xfrm>
            <a:custGeom>
              <a:avLst/>
              <a:gdLst/>
              <a:ahLst/>
              <a:cxnLst/>
              <a:rect l="0" t="0" r="0" b="0"/>
              <a:pathLst>
                <a:path w="131067" h="53806">
                  <a:moveTo>
                    <a:pt x="45545" y="2258"/>
                  </a:moveTo>
                  <a:lnTo>
                    <a:pt x="46848" y="4066"/>
                  </a:lnTo>
                  <a:lnTo>
                    <a:pt x="56338" y="0"/>
                  </a:lnTo>
                  <a:lnTo>
                    <a:pt x="67979" y="10605"/>
                  </a:lnTo>
                  <a:lnTo>
                    <a:pt x="81617" y="4197"/>
                  </a:lnTo>
                  <a:lnTo>
                    <a:pt x="92514" y="7269"/>
                  </a:lnTo>
                  <a:lnTo>
                    <a:pt x="109131" y="3040"/>
                  </a:lnTo>
                  <a:lnTo>
                    <a:pt x="131066" y="14525"/>
                  </a:lnTo>
                  <a:lnTo>
                    <a:pt x="124666" y="22276"/>
                  </a:lnTo>
                  <a:lnTo>
                    <a:pt x="120159" y="34233"/>
                  </a:lnTo>
                  <a:lnTo>
                    <a:pt x="115234" y="37259"/>
                  </a:lnTo>
                  <a:lnTo>
                    <a:pt x="90514" y="28261"/>
                  </a:lnTo>
                  <a:lnTo>
                    <a:pt x="82949" y="30069"/>
                  </a:lnTo>
                  <a:lnTo>
                    <a:pt x="77536" y="37034"/>
                  </a:lnTo>
                  <a:lnTo>
                    <a:pt x="66697" y="40723"/>
                  </a:lnTo>
                  <a:lnTo>
                    <a:pt x="64201" y="38835"/>
                  </a:lnTo>
                  <a:lnTo>
                    <a:pt x="52960" y="43417"/>
                  </a:lnTo>
                  <a:lnTo>
                    <a:pt x="43788" y="44290"/>
                  </a:lnTo>
                  <a:lnTo>
                    <a:pt x="41930" y="50204"/>
                  </a:lnTo>
                  <a:lnTo>
                    <a:pt x="22555" y="53805"/>
                  </a:lnTo>
                  <a:lnTo>
                    <a:pt x="14045" y="50600"/>
                  </a:lnTo>
                  <a:lnTo>
                    <a:pt x="2301" y="43059"/>
                  </a:lnTo>
                  <a:lnTo>
                    <a:pt x="0" y="32820"/>
                  </a:lnTo>
                  <a:lnTo>
                    <a:pt x="1853" y="29058"/>
                  </a:lnTo>
                  <a:lnTo>
                    <a:pt x="5124" y="22527"/>
                  </a:lnTo>
                  <a:lnTo>
                    <a:pt x="15350" y="23030"/>
                  </a:lnTo>
                  <a:lnTo>
                    <a:pt x="23232" y="19954"/>
                  </a:lnTo>
                  <a:lnTo>
                    <a:pt x="23856" y="17185"/>
                  </a:lnTo>
                  <a:lnTo>
                    <a:pt x="28276" y="15770"/>
                  </a:lnTo>
                  <a:lnTo>
                    <a:pt x="29788" y="8981"/>
                  </a:lnTo>
                  <a:lnTo>
                    <a:pt x="35086" y="7681"/>
                  </a:lnTo>
                  <a:lnTo>
                    <a:pt x="38663" y="229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 149"/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4676875" y="3359915"/>
              <a:ext cx="66173" cy="40426"/>
            </a:xfrm>
            <a:custGeom>
              <a:avLst/>
              <a:gdLst/>
              <a:ahLst/>
              <a:cxnLst/>
              <a:rect l="0" t="0" r="0" b="0"/>
              <a:pathLst>
                <a:path w="66173" h="40426">
                  <a:moveTo>
                    <a:pt x="2502" y="9961"/>
                  </a:moveTo>
                  <a:lnTo>
                    <a:pt x="21568" y="12206"/>
                  </a:lnTo>
                  <a:lnTo>
                    <a:pt x="33216" y="5628"/>
                  </a:lnTo>
                  <a:lnTo>
                    <a:pt x="53404" y="4904"/>
                  </a:lnTo>
                  <a:lnTo>
                    <a:pt x="57804" y="0"/>
                  </a:lnTo>
                  <a:lnTo>
                    <a:pt x="61687" y="321"/>
                  </a:lnTo>
                  <a:lnTo>
                    <a:pt x="66172" y="10122"/>
                  </a:lnTo>
                  <a:lnTo>
                    <a:pt x="47796" y="17809"/>
                  </a:lnTo>
                  <a:lnTo>
                    <a:pt x="45552" y="29459"/>
                  </a:lnTo>
                  <a:lnTo>
                    <a:pt x="37529" y="32403"/>
                  </a:lnTo>
                  <a:lnTo>
                    <a:pt x="37615" y="40425"/>
                  </a:lnTo>
                  <a:lnTo>
                    <a:pt x="28557" y="39870"/>
                  </a:lnTo>
                  <a:lnTo>
                    <a:pt x="20706" y="35186"/>
                  </a:lnTo>
                  <a:lnTo>
                    <a:pt x="16478" y="40028"/>
                  </a:lnTo>
                  <a:lnTo>
                    <a:pt x="392" y="39049"/>
                  </a:lnTo>
                  <a:lnTo>
                    <a:pt x="5529" y="36447"/>
                  </a:lnTo>
                  <a:lnTo>
                    <a:pt x="0" y="2419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 150"/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4615228" y="2605431"/>
              <a:ext cx="297213" cy="494295"/>
            </a:xfrm>
            <a:custGeom>
              <a:avLst/>
              <a:gdLst/>
              <a:ahLst/>
              <a:cxnLst/>
              <a:rect l="0" t="0" r="0" b="0"/>
              <a:pathLst>
                <a:path w="297213" h="494295">
                  <a:moveTo>
                    <a:pt x="257506" y="132676"/>
                  </a:moveTo>
                  <a:lnTo>
                    <a:pt x="235123" y="159012"/>
                  </a:lnTo>
                  <a:lnTo>
                    <a:pt x="238727" y="181860"/>
                  </a:lnTo>
                  <a:lnTo>
                    <a:pt x="202008" y="211485"/>
                  </a:lnTo>
                  <a:lnTo>
                    <a:pt x="157433" y="242729"/>
                  </a:lnTo>
                  <a:lnTo>
                    <a:pt x="140624" y="292923"/>
                  </a:lnTo>
                  <a:lnTo>
                    <a:pt x="157054" y="317610"/>
                  </a:lnTo>
                  <a:lnTo>
                    <a:pt x="179129" y="336852"/>
                  </a:lnTo>
                  <a:lnTo>
                    <a:pt x="157928" y="375482"/>
                  </a:lnTo>
                  <a:lnTo>
                    <a:pt x="133921" y="383411"/>
                  </a:lnTo>
                  <a:lnTo>
                    <a:pt x="125116" y="439506"/>
                  </a:lnTo>
                  <a:lnTo>
                    <a:pt x="112006" y="470226"/>
                  </a:lnTo>
                  <a:lnTo>
                    <a:pt x="84005" y="467078"/>
                  </a:lnTo>
                  <a:lnTo>
                    <a:pt x="70941" y="492808"/>
                  </a:lnTo>
                  <a:lnTo>
                    <a:pt x="44215" y="494294"/>
                  </a:lnTo>
                  <a:lnTo>
                    <a:pt x="36880" y="463611"/>
                  </a:lnTo>
                  <a:lnTo>
                    <a:pt x="17556" y="426240"/>
                  </a:lnTo>
                  <a:lnTo>
                    <a:pt x="0" y="378794"/>
                  </a:lnTo>
                  <a:lnTo>
                    <a:pt x="10177" y="359174"/>
                  </a:lnTo>
                  <a:lnTo>
                    <a:pt x="29384" y="335608"/>
                  </a:lnTo>
                  <a:lnTo>
                    <a:pt x="37019" y="294600"/>
                  </a:lnTo>
                  <a:lnTo>
                    <a:pt x="22267" y="276683"/>
                  </a:lnTo>
                  <a:lnTo>
                    <a:pt x="20848" y="229021"/>
                  </a:lnTo>
                  <a:lnTo>
                    <a:pt x="35837" y="194710"/>
                  </a:lnTo>
                  <a:lnTo>
                    <a:pt x="58735" y="195340"/>
                  </a:lnTo>
                  <a:lnTo>
                    <a:pt x="66767" y="180678"/>
                  </a:lnTo>
                  <a:lnTo>
                    <a:pt x="58360" y="167958"/>
                  </a:lnTo>
                  <a:lnTo>
                    <a:pt x="94201" y="114740"/>
                  </a:lnTo>
                  <a:lnTo>
                    <a:pt x="117290" y="71821"/>
                  </a:lnTo>
                  <a:lnTo>
                    <a:pt x="132529" y="43795"/>
                  </a:lnTo>
                  <a:lnTo>
                    <a:pt x="154696" y="43929"/>
                  </a:lnTo>
                  <a:lnTo>
                    <a:pt x="160805" y="21724"/>
                  </a:lnTo>
                  <a:lnTo>
                    <a:pt x="204309" y="28137"/>
                  </a:lnTo>
                  <a:lnTo>
                    <a:pt x="207695" y="1666"/>
                  </a:lnTo>
                  <a:lnTo>
                    <a:pt x="222014" y="0"/>
                  </a:lnTo>
                  <a:lnTo>
                    <a:pt x="252782" y="19740"/>
                  </a:lnTo>
                  <a:lnTo>
                    <a:pt x="288813" y="46883"/>
                  </a:lnTo>
                  <a:lnTo>
                    <a:pt x="289422" y="106979"/>
                  </a:lnTo>
                  <a:lnTo>
                    <a:pt x="297212" y="12189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 151"/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5068785" y="5133371"/>
              <a:ext cx="32202" cy="40246"/>
            </a:xfrm>
            <a:custGeom>
              <a:avLst/>
              <a:gdLst/>
              <a:ahLst/>
              <a:cxnLst/>
              <a:rect l="0" t="0" r="0" b="0"/>
              <a:pathLst>
                <a:path w="32202" h="40246">
                  <a:moveTo>
                    <a:pt x="32201" y="26538"/>
                  </a:moveTo>
                  <a:lnTo>
                    <a:pt x="27502" y="37561"/>
                  </a:lnTo>
                  <a:lnTo>
                    <a:pt x="13992" y="40245"/>
                  </a:lnTo>
                  <a:lnTo>
                    <a:pt x="216" y="26787"/>
                  </a:lnTo>
                  <a:lnTo>
                    <a:pt x="0" y="18223"/>
                  </a:lnTo>
                  <a:lnTo>
                    <a:pt x="6303" y="8942"/>
                  </a:lnTo>
                  <a:lnTo>
                    <a:pt x="8482" y="1757"/>
                  </a:lnTo>
                  <a:lnTo>
                    <a:pt x="15155" y="0"/>
                  </a:lnTo>
                  <a:lnTo>
                    <a:pt x="26802" y="4516"/>
                  </a:lnTo>
                  <a:lnTo>
                    <a:pt x="30219" y="1559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 152"/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5184756" y="3627063"/>
              <a:ext cx="153473" cy="128366"/>
            </a:xfrm>
            <a:custGeom>
              <a:avLst/>
              <a:gdLst/>
              <a:ahLst/>
              <a:cxnLst/>
              <a:rect l="0" t="0" r="0" b="0"/>
              <a:pathLst>
                <a:path w="153473" h="128366">
                  <a:moveTo>
                    <a:pt x="71362" y="100929"/>
                  </a:moveTo>
                  <a:lnTo>
                    <a:pt x="26159" y="128365"/>
                  </a:lnTo>
                  <a:lnTo>
                    <a:pt x="442" y="118187"/>
                  </a:lnTo>
                  <a:lnTo>
                    <a:pt x="0" y="118012"/>
                  </a:lnTo>
                  <a:lnTo>
                    <a:pt x="3130" y="114098"/>
                  </a:lnTo>
                  <a:lnTo>
                    <a:pt x="2777" y="103545"/>
                  </a:lnTo>
                  <a:lnTo>
                    <a:pt x="8441" y="89381"/>
                  </a:lnTo>
                  <a:lnTo>
                    <a:pt x="21028" y="79599"/>
                  </a:lnTo>
                  <a:lnTo>
                    <a:pt x="17252" y="69393"/>
                  </a:lnTo>
                  <a:lnTo>
                    <a:pt x="6870" y="68064"/>
                  </a:lnTo>
                  <a:lnTo>
                    <a:pt x="4714" y="48058"/>
                  </a:lnTo>
                  <a:lnTo>
                    <a:pt x="10364" y="37250"/>
                  </a:lnTo>
                  <a:lnTo>
                    <a:pt x="16545" y="31482"/>
                  </a:lnTo>
                  <a:lnTo>
                    <a:pt x="22727" y="25704"/>
                  </a:lnTo>
                  <a:lnTo>
                    <a:pt x="23976" y="10949"/>
                  </a:lnTo>
                  <a:lnTo>
                    <a:pt x="31531" y="16101"/>
                  </a:lnTo>
                  <a:lnTo>
                    <a:pt x="56944" y="8730"/>
                  </a:lnTo>
                  <a:lnTo>
                    <a:pt x="69228" y="13721"/>
                  </a:lnTo>
                  <a:lnTo>
                    <a:pt x="88217" y="13638"/>
                  </a:lnTo>
                  <a:lnTo>
                    <a:pt x="114778" y="3684"/>
                  </a:lnTo>
                  <a:lnTo>
                    <a:pt x="127216" y="4134"/>
                  </a:lnTo>
                  <a:lnTo>
                    <a:pt x="153472" y="0"/>
                  </a:lnTo>
                  <a:lnTo>
                    <a:pt x="141642" y="16556"/>
                  </a:lnTo>
                  <a:lnTo>
                    <a:pt x="129007" y="23087"/>
                  </a:lnTo>
                  <a:lnTo>
                    <a:pt x="131183" y="42329"/>
                  </a:lnTo>
                  <a:lnTo>
                    <a:pt x="122462" y="73940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 153"/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4673235" y="3977725"/>
              <a:ext cx="238826" cy="378621"/>
            </a:xfrm>
            <a:custGeom>
              <a:avLst/>
              <a:gdLst/>
              <a:ahLst/>
              <a:cxnLst/>
              <a:rect l="0" t="0" r="0" b="0"/>
              <a:pathLst>
                <a:path w="238826" h="378621">
                  <a:moveTo>
                    <a:pt x="22053" y="251808"/>
                  </a:moveTo>
                  <a:lnTo>
                    <a:pt x="24361" y="240752"/>
                  </a:lnTo>
                  <a:lnTo>
                    <a:pt x="9558" y="240211"/>
                  </a:lnTo>
                  <a:lnTo>
                    <a:pt x="9609" y="225088"/>
                  </a:lnTo>
                  <a:lnTo>
                    <a:pt x="0" y="216367"/>
                  </a:lnTo>
                  <a:lnTo>
                    <a:pt x="9966" y="185279"/>
                  </a:lnTo>
                  <a:lnTo>
                    <a:pt x="39410" y="162948"/>
                  </a:lnTo>
                  <a:lnTo>
                    <a:pt x="40626" y="132030"/>
                  </a:lnTo>
                  <a:lnTo>
                    <a:pt x="49521" y="83500"/>
                  </a:lnTo>
                  <a:lnTo>
                    <a:pt x="54541" y="73157"/>
                  </a:lnTo>
                  <a:lnTo>
                    <a:pt x="44936" y="64907"/>
                  </a:lnTo>
                  <a:lnTo>
                    <a:pt x="44565" y="57242"/>
                  </a:lnTo>
                  <a:lnTo>
                    <a:pt x="35928" y="50967"/>
                  </a:lnTo>
                  <a:lnTo>
                    <a:pt x="30259" y="13309"/>
                  </a:lnTo>
                  <a:lnTo>
                    <a:pt x="53562" y="0"/>
                  </a:lnTo>
                  <a:lnTo>
                    <a:pt x="145626" y="46460"/>
                  </a:lnTo>
                  <a:lnTo>
                    <a:pt x="237688" y="92538"/>
                  </a:lnTo>
                  <a:lnTo>
                    <a:pt x="238825" y="187018"/>
                  </a:lnTo>
                  <a:lnTo>
                    <a:pt x="218921" y="185365"/>
                  </a:lnTo>
                  <a:lnTo>
                    <a:pt x="208380" y="202761"/>
                  </a:lnTo>
                  <a:lnTo>
                    <a:pt x="202276" y="217316"/>
                  </a:lnTo>
                  <a:lnTo>
                    <a:pt x="207089" y="222817"/>
                  </a:lnTo>
                  <a:lnTo>
                    <a:pt x="199501" y="230033"/>
                  </a:lnTo>
                  <a:lnTo>
                    <a:pt x="202116" y="239768"/>
                  </a:lnTo>
                  <a:lnTo>
                    <a:pt x="196138" y="249555"/>
                  </a:lnTo>
                  <a:lnTo>
                    <a:pt x="193812" y="258169"/>
                  </a:lnTo>
                  <a:lnTo>
                    <a:pt x="201918" y="256812"/>
                  </a:lnTo>
                  <a:lnTo>
                    <a:pt x="206757" y="265854"/>
                  </a:lnTo>
                  <a:lnTo>
                    <a:pt x="207012" y="279452"/>
                  </a:lnTo>
                  <a:lnTo>
                    <a:pt x="215496" y="286345"/>
                  </a:lnTo>
                  <a:lnTo>
                    <a:pt x="215218" y="292005"/>
                  </a:lnTo>
                  <a:lnTo>
                    <a:pt x="200605" y="295989"/>
                  </a:lnTo>
                  <a:lnTo>
                    <a:pt x="188895" y="305440"/>
                  </a:lnTo>
                  <a:lnTo>
                    <a:pt x="172208" y="330874"/>
                  </a:lnTo>
                  <a:lnTo>
                    <a:pt x="150483" y="341657"/>
                  </a:lnTo>
                  <a:lnTo>
                    <a:pt x="128192" y="340211"/>
                  </a:lnTo>
                  <a:lnTo>
                    <a:pt x="121683" y="342350"/>
                  </a:lnTo>
                  <a:lnTo>
                    <a:pt x="123968" y="350538"/>
                  </a:lnTo>
                  <a:lnTo>
                    <a:pt x="111931" y="358663"/>
                  </a:lnTo>
                  <a:lnTo>
                    <a:pt x="102130" y="367733"/>
                  </a:lnTo>
                  <a:lnTo>
                    <a:pt x="73070" y="376615"/>
                  </a:lnTo>
                  <a:lnTo>
                    <a:pt x="67304" y="371358"/>
                  </a:lnTo>
                  <a:lnTo>
                    <a:pt x="63481" y="370905"/>
                  </a:lnTo>
                  <a:lnTo>
                    <a:pt x="59227" y="376876"/>
                  </a:lnTo>
                  <a:lnTo>
                    <a:pt x="40142" y="378620"/>
                  </a:lnTo>
                  <a:lnTo>
                    <a:pt x="43758" y="372332"/>
                  </a:lnTo>
                  <a:lnTo>
                    <a:pt x="36481" y="356320"/>
                  </a:lnTo>
                  <a:lnTo>
                    <a:pt x="33230" y="346696"/>
                  </a:lnTo>
                  <a:lnTo>
                    <a:pt x="23177" y="342747"/>
                  </a:lnTo>
                  <a:lnTo>
                    <a:pt x="9552" y="329162"/>
                  </a:lnTo>
                  <a:lnTo>
                    <a:pt x="14567" y="318167"/>
                  </a:lnTo>
                  <a:lnTo>
                    <a:pt x="25086" y="320508"/>
                  </a:lnTo>
                  <a:lnTo>
                    <a:pt x="31599" y="318849"/>
                  </a:lnTo>
                  <a:lnTo>
                    <a:pt x="44491" y="319077"/>
                  </a:lnTo>
                  <a:lnTo>
                    <a:pt x="31927" y="297870"/>
                  </a:lnTo>
                  <a:lnTo>
                    <a:pt x="32772" y="282347"/>
                  </a:lnTo>
                  <a:lnTo>
                    <a:pt x="31230" y="26681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 154"/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4359537" y="4272621"/>
              <a:ext cx="44205" cy="118341"/>
            </a:xfrm>
            <a:custGeom>
              <a:avLst/>
              <a:gdLst/>
              <a:ahLst/>
              <a:cxnLst/>
              <a:rect l="0" t="0" r="0" b="0"/>
              <a:pathLst>
                <a:path w="44205" h="118341">
                  <a:moveTo>
                    <a:pt x="44204" y="113398"/>
                  </a:moveTo>
                  <a:lnTo>
                    <a:pt x="25620" y="118340"/>
                  </a:lnTo>
                  <a:lnTo>
                    <a:pt x="20468" y="110205"/>
                  </a:lnTo>
                  <a:lnTo>
                    <a:pt x="14315" y="95499"/>
                  </a:lnTo>
                  <a:lnTo>
                    <a:pt x="12482" y="83960"/>
                  </a:lnTo>
                  <a:lnTo>
                    <a:pt x="17585" y="63043"/>
                  </a:lnTo>
                  <a:lnTo>
                    <a:pt x="11795" y="54564"/>
                  </a:lnTo>
                  <a:lnTo>
                    <a:pt x="9596" y="36233"/>
                  </a:lnTo>
                  <a:lnTo>
                    <a:pt x="9634" y="19311"/>
                  </a:lnTo>
                  <a:lnTo>
                    <a:pt x="0" y="7279"/>
                  </a:lnTo>
                  <a:lnTo>
                    <a:pt x="1699" y="0"/>
                  </a:lnTo>
                  <a:lnTo>
                    <a:pt x="21914" y="498"/>
                  </a:lnTo>
                  <a:lnTo>
                    <a:pt x="18977" y="12790"/>
                  </a:lnTo>
                  <a:lnTo>
                    <a:pt x="26028" y="19675"/>
                  </a:lnTo>
                  <a:lnTo>
                    <a:pt x="34044" y="27838"/>
                  </a:lnTo>
                  <a:lnTo>
                    <a:pt x="34920" y="39269"/>
                  </a:lnTo>
                  <a:lnTo>
                    <a:pt x="39570" y="44064"/>
                  </a:lnTo>
                  <a:lnTo>
                    <a:pt x="38519" y="97408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 155"/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6608383" y="4050155"/>
              <a:ext cx="189582" cy="346306"/>
            </a:xfrm>
            <a:custGeom>
              <a:avLst/>
              <a:gdLst/>
              <a:ahLst/>
              <a:cxnLst/>
              <a:rect l="0" t="0" r="0" b="0"/>
              <a:pathLst>
                <a:path w="189582" h="346306">
                  <a:moveTo>
                    <a:pt x="120238" y="195149"/>
                  </a:moveTo>
                  <a:lnTo>
                    <a:pt x="99515" y="184389"/>
                  </a:lnTo>
                  <a:lnTo>
                    <a:pt x="79772" y="184827"/>
                  </a:lnTo>
                  <a:lnTo>
                    <a:pt x="83157" y="166388"/>
                  </a:lnTo>
                  <a:lnTo>
                    <a:pt x="62828" y="166526"/>
                  </a:lnTo>
                  <a:lnTo>
                    <a:pt x="61004" y="192329"/>
                  </a:lnTo>
                  <a:lnTo>
                    <a:pt x="48543" y="226490"/>
                  </a:lnTo>
                  <a:lnTo>
                    <a:pt x="41037" y="247096"/>
                  </a:lnTo>
                  <a:lnTo>
                    <a:pt x="42622" y="263955"/>
                  </a:lnTo>
                  <a:lnTo>
                    <a:pt x="57659" y="264686"/>
                  </a:lnTo>
                  <a:lnTo>
                    <a:pt x="67026" y="285912"/>
                  </a:lnTo>
                  <a:lnTo>
                    <a:pt x="71172" y="306013"/>
                  </a:lnTo>
                  <a:lnTo>
                    <a:pt x="84053" y="319298"/>
                  </a:lnTo>
                  <a:lnTo>
                    <a:pt x="98036" y="321994"/>
                  </a:lnTo>
                  <a:lnTo>
                    <a:pt x="109995" y="334023"/>
                  </a:lnTo>
                  <a:lnTo>
                    <a:pt x="102449" y="343539"/>
                  </a:lnTo>
                  <a:lnTo>
                    <a:pt x="87214" y="346305"/>
                  </a:lnTo>
                  <a:lnTo>
                    <a:pt x="85397" y="334411"/>
                  </a:lnTo>
                  <a:lnTo>
                    <a:pt x="66563" y="324261"/>
                  </a:lnTo>
                  <a:lnTo>
                    <a:pt x="62550" y="328395"/>
                  </a:lnTo>
                  <a:lnTo>
                    <a:pt x="53431" y="319499"/>
                  </a:lnTo>
                  <a:lnTo>
                    <a:pt x="49483" y="308011"/>
                  </a:lnTo>
                  <a:lnTo>
                    <a:pt x="37218" y="294906"/>
                  </a:lnTo>
                  <a:lnTo>
                    <a:pt x="26035" y="283886"/>
                  </a:lnTo>
                  <a:lnTo>
                    <a:pt x="22246" y="297541"/>
                  </a:lnTo>
                  <a:lnTo>
                    <a:pt x="17868" y="284637"/>
                  </a:lnTo>
                  <a:lnTo>
                    <a:pt x="20388" y="270129"/>
                  </a:lnTo>
                  <a:lnTo>
                    <a:pt x="27183" y="247798"/>
                  </a:lnTo>
                  <a:lnTo>
                    <a:pt x="38369" y="223824"/>
                  </a:lnTo>
                  <a:lnTo>
                    <a:pt x="51045" y="202028"/>
                  </a:lnTo>
                  <a:lnTo>
                    <a:pt x="42020" y="180660"/>
                  </a:lnTo>
                  <a:lnTo>
                    <a:pt x="42382" y="169757"/>
                  </a:lnTo>
                  <a:lnTo>
                    <a:pt x="39745" y="156638"/>
                  </a:lnTo>
                  <a:lnTo>
                    <a:pt x="24350" y="137930"/>
                  </a:lnTo>
                  <a:lnTo>
                    <a:pt x="18840" y="126096"/>
                  </a:lnTo>
                  <a:lnTo>
                    <a:pt x="26810" y="121733"/>
                  </a:lnTo>
                  <a:lnTo>
                    <a:pt x="35257" y="101171"/>
                  </a:lnTo>
                  <a:lnTo>
                    <a:pt x="25803" y="85523"/>
                  </a:lnTo>
                  <a:lnTo>
                    <a:pt x="11154" y="68172"/>
                  </a:lnTo>
                  <a:lnTo>
                    <a:pt x="0" y="47259"/>
                  </a:lnTo>
                  <a:lnTo>
                    <a:pt x="9738" y="42922"/>
                  </a:lnTo>
                  <a:lnTo>
                    <a:pt x="20262" y="17045"/>
                  </a:lnTo>
                  <a:lnTo>
                    <a:pt x="36558" y="15971"/>
                  </a:lnTo>
                  <a:lnTo>
                    <a:pt x="50029" y="5560"/>
                  </a:lnTo>
                  <a:lnTo>
                    <a:pt x="63249" y="0"/>
                  </a:lnTo>
                  <a:lnTo>
                    <a:pt x="73241" y="7419"/>
                  </a:lnTo>
                  <a:lnTo>
                    <a:pt x="74566" y="21837"/>
                  </a:lnTo>
                  <a:lnTo>
                    <a:pt x="90163" y="22933"/>
                  </a:lnTo>
                  <a:lnTo>
                    <a:pt x="84483" y="48131"/>
                  </a:lnTo>
                  <a:lnTo>
                    <a:pt x="85029" y="69491"/>
                  </a:lnTo>
                  <a:lnTo>
                    <a:pt x="109359" y="55282"/>
                  </a:lnTo>
                  <a:lnTo>
                    <a:pt x="116269" y="59485"/>
                  </a:lnTo>
                  <a:lnTo>
                    <a:pt x="129789" y="58796"/>
                  </a:lnTo>
                  <a:lnTo>
                    <a:pt x="134440" y="50500"/>
                  </a:lnTo>
                  <a:lnTo>
                    <a:pt x="151897" y="52138"/>
                  </a:lnTo>
                  <a:lnTo>
                    <a:pt x="169451" y="71480"/>
                  </a:lnTo>
                  <a:lnTo>
                    <a:pt x="170891" y="94915"/>
                  </a:lnTo>
                  <a:lnTo>
                    <a:pt x="189581" y="115546"/>
                  </a:lnTo>
                  <a:lnTo>
                    <a:pt x="188549" y="135528"/>
                  </a:lnTo>
                  <a:lnTo>
                    <a:pt x="181034" y="146149"/>
                  </a:lnTo>
                  <a:lnTo>
                    <a:pt x="159398" y="142768"/>
                  </a:lnTo>
                  <a:lnTo>
                    <a:pt x="129551" y="147267"/>
                  </a:lnTo>
                  <a:lnTo>
                    <a:pt x="114772" y="16682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 156"/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5917433" y="3526296"/>
              <a:ext cx="173993" cy="113820"/>
            </a:xfrm>
            <a:custGeom>
              <a:avLst/>
              <a:gdLst/>
              <a:ahLst/>
              <a:cxnLst/>
              <a:rect l="0" t="0" r="0" b="0"/>
              <a:pathLst>
                <a:path w="173993" h="113820">
                  <a:moveTo>
                    <a:pt x="82451" y="19589"/>
                  </a:moveTo>
                  <a:lnTo>
                    <a:pt x="73999" y="27995"/>
                  </a:lnTo>
                  <a:lnTo>
                    <a:pt x="48875" y="23437"/>
                  </a:lnTo>
                  <a:lnTo>
                    <a:pt x="46689" y="39103"/>
                  </a:lnTo>
                  <a:lnTo>
                    <a:pt x="71717" y="37002"/>
                  </a:lnTo>
                  <a:lnTo>
                    <a:pt x="100236" y="45798"/>
                  </a:lnTo>
                  <a:lnTo>
                    <a:pt x="143878" y="41690"/>
                  </a:lnTo>
                  <a:lnTo>
                    <a:pt x="149729" y="66657"/>
                  </a:lnTo>
                  <a:lnTo>
                    <a:pt x="157316" y="63950"/>
                  </a:lnTo>
                  <a:lnTo>
                    <a:pt x="171334" y="70067"/>
                  </a:lnTo>
                  <a:lnTo>
                    <a:pt x="170530" y="80489"/>
                  </a:lnTo>
                  <a:lnTo>
                    <a:pt x="173992" y="95707"/>
                  </a:lnTo>
                  <a:lnTo>
                    <a:pt x="150187" y="95665"/>
                  </a:lnTo>
                  <a:lnTo>
                    <a:pt x="134291" y="93702"/>
                  </a:lnTo>
                  <a:lnTo>
                    <a:pt x="119907" y="105613"/>
                  </a:lnTo>
                  <a:lnTo>
                    <a:pt x="109662" y="108248"/>
                  </a:lnTo>
                  <a:lnTo>
                    <a:pt x="101620" y="113819"/>
                  </a:lnTo>
                  <a:lnTo>
                    <a:pt x="92480" y="105132"/>
                  </a:lnTo>
                  <a:lnTo>
                    <a:pt x="94632" y="82742"/>
                  </a:lnTo>
                  <a:lnTo>
                    <a:pt x="87650" y="81472"/>
                  </a:lnTo>
                  <a:lnTo>
                    <a:pt x="90159" y="73285"/>
                  </a:lnTo>
                  <a:lnTo>
                    <a:pt x="77664" y="67182"/>
                  </a:lnTo>
                  <a:lnTo>
                    <a:pt x="67727" y="76516"/>
                  </a:lnTo>
                  <a:lnTo>
                    <a:pt x="65286" y="87302"/>
                  </a:lnTo>
                  <a:lnTo>
                    <a:pt x="61732" y="91223"/>
                  </a:lnTo>
                  <a:lnTo>
                    <a:pt x="47933" y="90669"/>
                  </a:lnTo>
                  <a:lnTo>
                    <a:pt x="40489" y="102861"/>
                  </a:lnTo>
                  <a:lnTo>
                    <a:pt x="32714" y="97722"/>
                  </a:lnTo>
                  <a:lnTo>
                    <a:pt x="16004" y="106262"/>
                  </a:lnTo>
                  <a:lnTo>
                    <a:pt x="8951" y="103024"/>
                  </a:lnTo>
                  <a:lnTo>
                    <a:pt x="21925" y="76017"/>
                  </a:lnTo>
                  <a:lnTo>
                    <a:pt x="16938" y="56004"/>
                  </a:lnTo>
                  <a:lnTo>
                    <a:pt x="0" y="49564"/>
                  </a:lnTo>
                  <a:lnTo>
                    <a:pt x="5984" y="37645"/>
                  </a:lnTo>
                  <a:lnTo>
                    <a:pt x="25257" y="38920"/>
                  </a:lnTo>
                  <a:lnTo>
                    <a:pt x="36227" y="23901"/>
                  </a:lnTo>
                  <a:lnTo>
                    <a:pt x="43564" y="6373"/>
                  </a:lnTo>
                  <a:lnTo>
                    <a:pt x="74428" y="0"/>
                  </a:lnTo>
                  <a:lnTo>
                    <a:pt x="69616" y="12704"/>
                  </a:lnTo>
                  <a:lnTo>
                    <a:pt x="72923" y="2029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 157"/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5572584" y="3476717"/>
              <a:ext cx="324167" cy="202057"/>
            </a:xfrm>
            <a:custGeom>
              <a:avLst/>
              <a:gdLst/>
              <a:ahLst/>
              <a:cxnLst/>
              <a:rect l="0" t="0" r="0" b="0"/>
              <a:pathLst>
                <a:path w="324167" h="202057">
                  <a:moveTo>
                    <a:pt x="201012" y="192103"/>
                  </a:moveTo>
                  <a:lnTo>
                    <a:pt x="198987" y="169924"/>
                  </a:lnTo>
                  <a:lnTo>
                    <a:pt x="181780" y="168978"/>
                  </a:lnTo>
                  <a:lnTo>
                    <a:pt x="155399" y="145473"/>
                  </a:lnTo>
                  <a:lnTo>
                    <a:pt x="136965" y="142560"/>
                  </a:lnTo>
                  <a:lnTo>
                    <a:pt x="111442" y="129018"/>
                  </a:lnTo>
                  <a:lnTo>
                    <a:pt x="95029" y="126550"/>
                  </a:lnTo>
                  <a:lnTo>
                    <a:pt x="84896" y="131536"/>
                  </a:lnTo>
                  <a:lnTo>
                    <a:pt x="69458" y="130761"/>
                  </a:lnTo>
                  <a:lnTo>
                    <a:pt x="53040" y="146020"/>
                  </a:lnTo>
                  <a:lnTo>
                    <a:pt x="32757" y="151170"/>
                  </a:lnTo>
                  <a:lnTo>
                    <a:pt x="28462" y="132312"/>
                  </a:lnTo>
                  <a:lnTo>
                    <a:pt x="31818" y="104220"/>
                  </a:lnTo>
                  <a:lnTo>
                    <a:pt x="13816" y="95076"/>
                  </a:lnTo>
                  <a:lnTo>
                    <a:pt x="19743" y="76499"/>
                  </a:lnTo>
                  <a:lnTo>
                    <a:pt x="4421" y="74910"/>
                  </a:lnTo>
                  <a:lnTo>
                    <a:pt x="9528" y="51876"/>
                  </a:lnTo>
                  <a:lnTo>
                    <a:pt x="31293" y="58602"/>
                  </a:lnTo>
                  <a:lnTo>
                    <a:pt x="51575" y="49832"/>
                  </a:lnTo>
                  <a:lnTo>
                    <a:pt x="34759" y="33313"/>
                  </a:lnTo>
                  <a:lnTo>
                    <a:pt x="28144" y="17485"/>
                  </a:lnTo>
                  <a:lnTo>
                    <a:pt x="9562" y="24554"/>
                  </a:lnTo>
                  <a:lnTo>
                    <a:pt x="7207" y="44767"/>
                  </a:lnTo>
                  <a:lnTo>
                    <a:pt x="0" y="26900"/>
                  </a:lnTo>
                  <a:lnTo>
                    <a:pt x="10198" y="17684"/>
                  </a:lnTo>
                  <a:lnTo>
                    <a:pt x="36400" y="11905"/>
                  </a:lnTo>
                  <a:lnTo>
                    <a:pt x="52003" y="19682"/>
                  </a:lnTo>
                  <a:lnTo>
                    <a:pt x="68158" y="41343"/>
                  </a:lnTo>
                  <a:lnTo>
                    <a:pt x="79998" y="40000"/>
                  </a:lnTo>
                  <a:lnTo>
                    <a:pt x="106040" y="39623"/>
                  </a:lnTo>
                  <a:lnTo>
                    <a:pt x="102250" y="25718"/>
                  </a:lnTo>
                  <a:lnTo>
                    <a:pt x="121970" y="16171"/>
                  </a:lnTo>
                  <a:lnTo>
                    <a:pt x="141417" y="0"/>
                  </a:lnTo>
                  <a:lnTo>
                    <a:pt x="172519" y="14712"/>
                  </a:lnTo>
                  <a:lnTo>
                    <a:pt x="174986" y="36790"/>
                  </a:lnTo>
                  <a:lnTo>
                    <a:pt x="183819" y="42431"/>
                  </a:lnTo>
                  <a:lnTo>
                    <a:pt x="208776" y="41164"/>
                  </a:lnTo>
                  <a:lnTo>
                    <a:pt x="216521" y="46156"/>
                  </a:lnTo>
                  <a:lnTo>
                    <a:pt x="227867" y="74359"/>
                  </a:lnTo>
                  <a:lnTo>
                    <a:pt x="254268" y="93110"/>
                  </a:lnTo>
                  <a:lnTo>
                    <a:pt x="269323" y="105829"/>
                  </a:lnTo>
                  <a:lnTo>
                    <a:pt x="293462" y="119006"/>
                  </a:lnTo>
                  <a:lnTo>
                    <a:pt x="324166" y="130478"/>
                  </a:lnTo>
                  <a:lnTo>
                    <a:pt x="323530" y="146810"/>
                  </a:lnTo>
                  <a:lnTo>
                    <a:pt x="316577" y="145984"/>
                  </a:lnTo>
                  <a:lnTo>
                    <a:pt x="305687" y="138856"/>
                  </a:lnTo>
                  <a:lnTo>
                    <a:pt x="302071" y="148342"/>
                  </a:lnTo>
                  <a:lnTo>
                    <a:pt x="282616" y="153485"/>
                  </a:lnTo>
                  <a:lnTo>
                    <a:pt x="278008" y="174668"/>
                  </a:lnTo>
                  <a:lnTo>
                    <a:pt x="264999" y="182688"/>
                  </a:lnTo>
                  <a:lnTo>
                    <a:pt x="246779" y="186658"/>
                  </a:lnTo>
                  <a:lnTo>
                    <a:pt x="241957" y="198561"/>
                  </a:lnTo>
                  <a:lnTo>
                    <a:pt x="224552" y="20205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Freeform 158"/>
            <p:cNvSpPr>
              <a:spLocks noChangeAspect="1"/>
            </p:cNvSpPr>
            <p:nvPr>
              <p:custDataLst>
                <p:tags r:id="rId157"/>
              </p:custDataLst>
            </p:nvPr>
          </p:nvSpPr>
          <p:spPr>
            <a:xfrm>
              <a:off x="7245298" y="4719368"/>
              <a:ext cx="54643" cy="26048"/>
            </a:xfrm>
            <a:custGeom>
              <a:avLst/>
              <a:gdLst/>
              <a:ahLst/>
              <a:cxnLst/>
              <a:rect l="0" t="0" r="0" b="0"/>
              <a:pathLst>
                <a:path w="54643" h="26048">
                  <a:moveTo>
                    <a:pt x="0" y="14402"/>
                  </a:moveTo>
                  <a:lnTo>
                    <a:pt x="2714" y="8915"/>
                  </a:lnTo>
                  <a:lnTo>
                    <a:pt x="22584" y="3689"/>
                  </a:lnTo>
                  <a:lnTo>
                    <a:pt x="38688" y="2902"/>
                  </a:lnTo>
                  <a:lnTo>
                    <a:pt x="45901" y="0"/>
                  </a:lnTo>
                  <a:lnTo>
                    <a:pt x="54642" y="2881"/>
                  </a:lnTo>
                  <a:lnTo>
                    <a:pt x="46150" y="9179"/>
                  </a:lnTo>
                  <a:lnTo>
                    <a:pt x="22095" y="19362"/>
                  </a:lnTo>
                  <a:lnTo>
                    <a:pt x="2767" y="26047"/>
                  </a:lnTo>
                  <a:lnTo>
                    <a:pt x="2339" y="18989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Freeform 159"/>
            <p:cNvSpPr>
              <a:spLocks noChangeAspect="1"/>
            </p:cNvSpPr>
            <p:nvPr>
              <p:custDataLst>
                <p:tags r:id="rId158"/>
              </p:custDataLst>
            </p:nvPr>
          </p:nvSpPr>
          <p:spPr>
            <a:xfrm>
              <a:off x="4534372" y="3623867"/>
              <a:ext cx="91507" cy="182659"/>
            </a:xfrm>
            <a:custGeom>
              <a:avLst/>
              <a:gdLst/>
              <a:ahLst/>
              <a:cxnLst/>
              <a:rect l="0" t="0" r="0" b="0"/>
              <a:pathLst>
                <a:path w="91507" h="182659">
                  <a:moveTo>
                    <a:pt x="45188" y="182658"/>
                  </a:moveTo>
                  <a:lnTo>
                    <a:pt x="35342" y="136950"/>
                  </a:lnTo>
                  <a:lnTo>
                    <a:pt x="21112" y="126598"/>
                  </a:lnTo>
                  <a:lnTo>
                    <a:pt x="20912" y="120377"/>
                  </a:lnTo>
                  <a:lnTo>
                    <a:pt x="2034" y="105018"/>
                  </a:lnTo>
                  <a:lnTo>
                    <a:pt x="0" y="85508"/>
                  </a:lnTo>
                  <a:lnTo>
                    <a:pt x="14230" y="70993"/>
                  </a:lnTo>
                  <a:lnTo>
                    <a:pt x="19664" y="49421"/>
                  </a:lnTo>
                  <a:lnTo>
                    <a:pt x="16004" y="24318"/>
                  </a:lnTo>
                  <a:lnTo>
                    <a:pt x="20693" y="10727"/>
                  </a:lnTo>
                  <a:lnTo>
                    <a:pt x="45831" y="0"/>
                  </a:lnTo>
                  <a:lnTo>
                    <a:pt x="61989" y="3193"/>
                  </a:lnTo>
                  <a:lnTo>
                    <a:pt x="61311" y="16623"/>
                  </a:lnTo>
                  <a:lnTo>
                    <a:pt x="80890" y="6859"/>
                  </a:lnTo>
                  <a:lnTo>
                    <a:pt x="82533" y="11958"/>
                  </a:lnTo>
                  <a:lnTo>
                    <a:pt x="70991" y="24931"/>
                  </a:lnTo>
                  <a:lnTo>
                    <a:pt x="70836" y="37132"/>
                  </a:lnTo>
                  <a:lnTo>
                    <a:pt x="78828" y="43668"/>
                  </a:lnTo>
                  <a:lnTo>
                    <a:pt x="75788" y="66339"/>
                  </a:lnTo>
                  <a:lnTo>
                    <a:pt x="60594" y="79441"/>
                  </a:lnTo>
                  <a:lnTo>
                    <a:pt x="64981" y="93593"/>
                  </a:lnTo>
                  <a:lnTo>
                    <a:pt x="76919" y="94033"/>
                  </a:lnTo>
                  <a:lnTo>
                    <a:pt x="82728" y="106330"/>
                  </a:lnTo>
                  <a:lnTo>
                    <a:pt x="91506" y="110365"/>
                  </a:lnTo>
                  <a:lnTo>
                    <a:pt x="90202" y="130125"/>
                  </a:lnTo>
                  <a:lnTo>
                    <a:pt x="78950" y="137484"/>
                  </a:lnTo>
                  <a:lnTo>
                    <a:pt x="71843" y="145681"/>
                  </a:lnTo>
                  <a:lnTo>
                    <a:pt x="55992" y="155515"/>
                  </a:lnTo>
                  <a:lnTo>
                    <a:pt x="58447" y="166060"/>
                  </a:lnTo>
                  <a:lnTo>
                    <a:pt x="56449" y="17678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Freeform 160"/>
            <p:cNvSpPr>
              <a:spLocks noChangeAspect="1"/>
            </p:cNvSpPr>
            <p:nvPr>
              <p:custDataLst>
                <p:tags r:id="rId159"/>
              </p:custDataLst>
            </p:nvPr>
          </p:nvSpPr>
          <p:spPr>
            <a:xfrm>
              <a:off x="4961837" y="3493694"/>
              <a:ext cx="432815" cy="170618"/>
            </a:xfrm>
            <a:custGeom>
              <a:avLst/>
              <a:gdLst/>
              <a:ahLst/>
              <a:cxnLst/>
              <a:rect l="l" t="t" r="r" b="b"/>
              <a:pathLst>
                <a:path w="432815" h="170618">
                  <a:moveTo>
                    <a:pt x="210614" y="2808"/>
                  </a:moveTo>
                  <a:lnTo>
                    <a:pt x="250903" y="22286"/>
                  </a:lnTo>
                  <a:lnTo>
                    <a:pt x="284016" y="32921"/>
                  </a:lnTo>
                  <a:lnTo>
                    <a:pt x="310906" y="28686"/>
                  </a:lnTo>
                  <a:lnTo>
                    <a:pt x="330776" y="31134"/>
                  </a:lnTo>
                  <a:lnTo>
                    <a:pt x="358029" y="16764"/>
                  </a:lnTo>
                  <a:lnTo>
                    <a:pt x="382623" y="15452"/>
                  </a:lnTo>
                  <a:lnTo>
                    <a:pt x="404856" y="28978"/>
                  </a:lnTo>
                  <a:lnTo>
                    <a:pt x="408778" y="38635"/>
                  </a:lnTo>
                  <a:lnTo>
                    <a:pt x="406557" y="51939"/>
                  </a:lnTo>
                  <a:lnTo>
                    <a:pt x="423721" y="58712"/>
                  </a:lnTo>
                  <a:lnTo>
                    <a:pt x="432815" y="66650"/>
                  </a:lnTo>
                  <a:lnTo>
                    <a:pt x="417008" y="74375"/>
                  </a:lnTo>
                  <a:lnTo>
                    <a:pt x="424214" y="105286"/>
                  </a:lnTo>
                  <a:lnTo>
                    <a:pt x="419698" y="113583"/>
                  </a:lnTo>
                  <a:lnTo>
                    <a:pt x="432323" y="134949"/>
                  </a:lnTo>
                  <a:lnTo>
                    <a:pt x="421261" y="139436"/>
                  </a:lnTo>
                  <a:lnTo>
                    <a:pt x="413154" y="132667"/>
                  </a:lnTo>
                  <a:lnTo>
                    <a:pt x="386306" y="129233"/>
                  </a:lnTo>
                  <a:lnTo>
                    <a:pt x="376391" y="133368"/>
                  </a:lnTo>
                  <a:lnTo>
                    <a:pt x="350135" y="137502"/>
                  </a:lnTo>
                  <a:lnTo>
                    <a:pt x="337697" y="137052"/>
                  </a:lnTo>
                  <a:lnTo>
                    <a:pt x="311136" y="147006"/>
                  </a:lnTo>
                  <a:lnTo>
                    <a:pt x="292147" y="147089"/>
                  </a:lnTo>
                  <a:lnTo>
                    <a:pt x="279863" y="142098"/>
                  </a:lnTo>
                  <a:lnTo>
                    <a:pt x="254450" y="149469"/>
                  </a:lnTo>
                  <a:lnTo>
                    <a:pt x="246895" y="144317"/>
                  </a:lnTo>
                  <a:lnTo>
                    <a:pt x="245646" y="159072"/>
                  </a:lnTo>
                  <a:lnTo>
                    <a:pt x="239464" y="164850"/>
                  </a:lnTo>
                  <a:lnTo>
                    <a:pt x="233283" y="170618"/>
                  </a:lnTo>
                  <a:lnTo>
                    <a:pt x="224796" y="158668"/>
                  </a:lnTo>
                  <a:lnTo>
                    <a:pt x="233538" y="148739"/>
                  </a:lnTo>
                  <a:lnTo>
                    <a:pt x="219460" y="150993"/>
                  </a:lnTo>
                  <a:lnTo>
                    <a:pt x="200154" y="144900"/>
                  </a:lnTo>
                  <a:lnTo>
                    <a:pt x="184281" y="160121"/>
                  </a:lnTo>
                  <a:lnTo>
                    <a:pt x="149248" y="163085"/>
                  </a:lnTo>
                  <a:lnTo>
                    <a:pt x="130561" y="148907"/>
                  </a:lnTo>
                  <a:lnTo>
                    <a:pt x="105678" y="148018"/>
                  </a:lnTo>
                  <a:lnTo>
                    <a:pt x="100357" y="158986"/>
                  </a:lnTo>
                  <a:lnTo>
                    <a:pt x="84404" y="162115"/>
                  </a:lnTo>
                  <a:lnTo>
                    <a:pt x="62082" y="148045"/>
                  </a:lnTo>
                  <a:lnTo>
                    <a:pt x="36882" y="148522"/>
                  </a:lnTo>
                  <a:lnTo>
                    <a:pt x="23208" y="122086"/>
                  </a:lnTo>
                  <a:lnTo>
                    <a:pt x="6344" y="107248"/>
                  </a:lnTo>
                  <a:lnTo>
                    <a:pt x="17574" y="86334"/>
                  </a:lnTo>
                  <a:lnTo>
                    <a:pt x="2941" y="73414"/>
                  </a:lnTo>
                  <a:lnTo>
                    <a:pt x="28545" y="47395"/>
                  </a:lnTo>
                  <a:lnTo>
                    <a:pt x="64091" y="46302"/>
                  </a:lnTo>
                  <a:lnTo>
                    <a:pt x="73787" y="25462"/>
                  </a:lnTo>
                  <a:lnTo>
                    <a:pt x="117781" y="29102"/>
                  </a:lnTo>
                  <a:lnTo>
                    <a:pt x="145528" y="11223"/>
                  </a:lnTo>
                  <a:lnTo>
                    <a:pt x="172426" y="3398"/>
                  </a:lnTo>
                  <a:close/>
                  <a:moveTo>
                    <a:pt x="25215" y="0"/>
                  </a:moveTo>
                  <a:lnTo>
                    <a:pt x="45089" y="3719"/>
                  </a:lnTo>
                  <a:lnTo>
                    <a:pt x="47831" y="14356"/>
                  </a:lnTo>
                  <a:lnTo>
                    <a:pt x="67980" y="23262"/>
                  </a:lnTo>
                  <a:lnTo>
                    <a:pt x="63779" y="29999"/>
                  </a:lnTo>
                  <a:lnTo>
                    <a:pt x="36370" y="31514"/>
                  </a:lnTo>
                  <a:lnTo>
                    <a:pt x="26522" y="39995"/>
                  </a:lnTo>
                  <a:lnTo>
                    <a:pt x="7263" y="54708"/>
                  </a:lnTo>
                  <a:lnTo>
                    <a:pt x="0" y="41988"/>
                  </a:lnTo>
                  <a:lnTo>
                    <a:pt x="313" y="36335"/>
                  </a:lnTo>
                  <a:lnTo>
                    <a:pt x="5799" y="33259"/>
                  </a:lnTo>
                  <a:lnTo>
                    <a:pt x="12945" y="16034"/>
                  </a:lnTo>
                  <a:lnTo>
                    <a:pt x="1701" y="871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Freeform 161"/>
            <p:cNvSpPr>
              <a:spLocks noChangeAspect="1"/>
            </p:cNvSpPr>
            <p:nvPr>
              <p:custDataLst>
                <p:tags r:id="rId160"/>
              </p:custDataLst>
            </p:nvPr>
          </p:nvSpPr>
          <p:spPr>
            <a:xfrm>
              <a:off x="7133058" y="3931551"/>
              <a:ext cx="42590" cy="81135"/>
            </a:xfrm>
            <a:custGeom>
              <a:avLst/>
              <a:gdLst/>
              <a:ahLst/>
              <a:cxnLst/>
              <a:rect l="0" t="0" r="0" b="0"/>
              <a:pathLst>
                <a:path w="42590" h="81135">
                  <a:moveTo>
                    <a:pt x="38586" y="22120"/>
                  </a:moveTo>
                  <a:lnTo>
                    <a:pt x="24686" y="61235"/>
                  </a:lnTo>
                  <a:lnTo>
                    <a:pt x="14794" y="81134"/>
                  </a:lnTo>
                  <a:lnTo>
                    <a:pt x="2630" y="60652"/>
                  </a:lnTo>
                  <a:lnTo>
                    <a:pt x="0" y="42601"/>
                  </a:lnTo>
                  <a:lnTo>
                    <a:pt x="13585" y="18588"/>
                  </a:lnTo>
                  <a:lnTo>
                    <a:pt x="32059" y="0"/>
                  </a:lnTo>
                  <a:lnTo>
                    <a:pt x="42589" y="732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Freeform 162"/>
            <p:cNvSpPr>
              <a:spLocks noChangeAspect="1"/>
            </p:cNvSpPr>
            <p:nvPr>
              <p:custDataLst>
                <p:tags r:id="rId161"/>
              </p:custDataLst>
            </p:nvPr>
          </p:nvSpPr>
          <p:spPr>
            <a:xfrm>
              <a:off x="5037932" y="4549900"/>
              <a:ext cx="253370" cy="249838"/>
            </a:xfrm>
            <a:custGeom>
              <a:avLst/>
              <a:gdLst/>
              <a:ahLst/>
              <a:cxnLst/>
              <a:rect l="0" t="0" r="0" b="0"/>
              <a:pathLst>
                <a:path w="253370" h="249838">
                  <a:moveTo>
                    <a:pt x="105343" y="0"/>
                  </a:moveTo>
                  <a:lnTo>
                    <a:pt x="109242" y="2535"/>
                  </a:lnTo>
                  <a:lnTo>
                    <a:pt x="192941" y="49580"/>
                  </a:lnTo>
                  <a:lnTo>
                    <a:pt x="194516" y="62985"/>
                  </a:lnTo>
                  <a:lnTo>
                    <a:pt x="227647" y="86100"/>
                  </a:lnTo>
                  <a:lnTo>
                    <a:pt x="216990" y="114620"/>
                  </a:lnTo>
                  <a:lnTo>
                    <a:pt x="218357" y="127750"/>
                  </a:lnTo>
                  <a:lnTo>
                    <a:pt x="233135" y="136197"/>
                  </a:lnTo>
                  <a:lnTo>
                    <a:pt x="233828" y="142227"/>
                  </a:lnTo>
                  <a:lnTo>
                    <a:pt x="227473" y="156241"/>
                  </a:lnTo>
                  <a:lnTo>
                    <a:pt x="228796" y="163299"/>
                  </a:lnTo>
                  <a:lnTo>
                    <a:pt x="227284" y="174399"/>
                  </a:lnTo>
                  <a:lnTo>
                    <a:pt x="235345" y="188978"/>
                  </a:lnTo>
                  <a:lnTo>
                    <a:pt x="244898" y="211945"/>
                  </a:lnTo>
                  <a:lnTo>
                    <a:pt x="253369" y="217045"/>
                  </a:lnTo>
                  <a:lnTo>
                    <a:pt x="235005" y="230576"/>
                  </a:lnTo>
                  <a:lnTo>
                    <a:pt x="209765" y="239648"/>
                  </a:lnTo>
                  <a:lnTo>
                    <a:pt x="195918" y="239264"/>
                  </a:lnTo>
                  <a:lnTo>
                    <a:pt x="187692" y="246277"/>
                  </a:lnTo>
                  <a:lnTo>
                    <a:pt x="171623" y="246880"/>
                  </a:lnTo>
                  <a:lnTo>
                    <a:pt x="165597" y="249837"/>
                  </a:lnTo>
                  <a:lnTo>
                    <a:pt x="137859" y="243247"/>
                  </a:lnTo>
                  <a:lnTo>
                    <a:pt x="120492" y="245138"/>
                  </a:lnTo>
                  <a:lnTo>
                    <a:pt x="114029" y="213381"/>
                  </a:lnTo>
                  <a:lnTo>
                    <a:pt x="106200" y="202513"/>
                  </a:lnTo>
                  <a:lnTo>
                    <a:pt x="101557" y="196073"/>
                  </a:lnTo>
                  <a:lnTo>
                    <a:pt x="78929" y="191730"/>
                  </a:lnTo>
                  <a:lnTo>
                    <a:pt x="65829" y="184744"/>
                  </a:lnTo>
                  <a:lnTo>
                    <a:pt x="51159" y="180829"/>
                  </a:lnTo>
                  <a:lnTo>
                    <a:pt x="41959" y="176934"/>
                  </a:lnTo>
                  <a:lnTo>
                    <a:pt x="32316" y="171016"/>
                  </a:lnTo>
                  <a:lnTo>
                    <a:pt x="19852" y="141763"/>
                  </a:lnTo>
                  <a:lnTo>
                    <a:pt x="6463" y="128778"/>
                  </a:lnTo>
                  <a:lnTo>
                    <a:pt x="1846" y="115339"/>
                  </a:lnTo>
                  <a:lnTo>
                    <a:pt x="4155" y="103298"/>
                  </a:lnTo>
                  <a:lnTo>
                    <a:pt x="0" y="82011"/>
                  </a:lnTo>
                  <a:lnTo>
                    <a:pt x="9545" y="80910"/>
                  </a:lnTo>
                  <a:lnTo>
                    <a:pt x="17920" y="72533"/>
                  </a:lnTo>
                  <a:lnTo>
                    <a:pt x="26904" y="60477"/>
                  </a:lnTo>
                  <a:lnTo>
                    <a:pt x="32598" y="55641"/>
                  </a:lnTo>
                  <a:lnTo>
                    <a:pt x="32385" y="48132"/>
                  </a:lnTo>
                  <a:lnTo>
                    <a:pt x="27415" y="42894"/>
                  </a:lnTo>
                  <a:lnTo>
                    <a:pt x="26076" y="33799"/>
                  </a:lnTo>
                  <a:lnTo>
                    <a:pt x="32739" y="30875"/>
                  </a:lnTo>
                  <a:lnTo>
                    <a:pt x="34074" y="17290"/>
                  </a:lnTo>
                  <a:lnTo>
                    <a:pt x="24909" y="4263"/>
                  </a:lnTo>
                  <a:lnTo>
                    <a:pt x="33005" y="1490"/>
                  </a:lnTo>
                  <a:lnTo>
                    <a:pt x="58311" y="178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Freeform 163"/>
            <p:cNvSpPr>
              <a:spLocks noChangeAspect="1"/>
            </p:cNvSpPr>
            <p:nvPr>
              <p:custDataLst>
                <p:tags r:id="rId162"/>
              </p:custDataLst>
            </p:nvPr>
          </p:nvSpPr>
          <p:spPr>
            <a:xfrm>
              <a:off x="5043460" y="4429814"/>
              <a:ext cx="125952" cy="131476"/>
            </a:xfrm>
            <a:custGeom>
              <a:avLst/>
              <a:gdLst/>
              <a:ahLst/>
              <a:cxnLst/>
              <a:rect l="0" t="0" r="0" b="0"/>
              <a:pathLst>
                <a:path w="125952" h="131476">
                  <a:moveTo>
                    <a:pt x="52783" y="121872"/>
                  </a:moveTo>
                  <a:lnTo>
                    <a:pt x="27477" y="121576"/>
                  </a:lnTo>
                  <a:lnTo>
                    <a:pt x="19381" y="124349"/>
                  </a:lnTo>
                  <a:lnTo>
                    <a:pt x="5587" y="131475"/>
                  </a:lnTo>
                  <a:lnTo>
                    <a:pt x="0" y="129119"/>
                  </a:lnTo>
                  <a:lnTo>
                    <a:pt x="193" y="111716"/>
                  </a:lnTo>
                  <a:lnTo>
                    <a:pt x="5540" y="102895"/>
                  </a:lnTo>
                  <a:lnTo>
                    <a:pt x="6839" y="84367"/>
                  </a:lnTo>
                  <a:lnTo>
                    <a:pt x="11695" y="73635"/>
                  </a:lnTo>
                  <a:lnTo>
                    <a:pt x="20521" y="61595"/>
                  </a:lnTo>
                  <a:lnTo>
                    <a:pt x="29388" y="55463"/>
                  </a:lnTo>
                  <a:lnTo>
                    <a:pt x="36809" y="47263"/>
                  </a:lnTo>
                  <a:lnTo>
                    <a:pt x="27557" y="44136"/>
                  </a:lnTo>
                  <a:lnTo>
                    <a:pt x="28954" y="17123"/>
                  </a:lnTo>
                  <a:lnTo>
                    <a:pt x="38458" y="10820"/>
                  </a:lnTo>
                  <a:lnTo>
                    <a:pt x="53135" y="15988"/>
                  </a:lnTo>
                  <a:lnTo>
                    <a:pt x="71717" y="10579"/>
                  </a:lnTo>
                  <a:lnTo>
                    <a:pt x="87957" y="10632"/>
                  </a:lnTo>
                  <a:lnTo>
                    <a:pt x="102153" y="0"/>
                  </a:lnTo>
                  <a:lnTo>
                    <a:pt x="113097" y="16050"/>
                  </a:lnTo>
                  <a:lnTo>
                    <a:pt x="115796" y="27647"/>
                  </a:lnTo>
                  <a:lnTo>
                    <a:pt x="125951" y="54160"/>
                  </a:lnTo>
                  <a:lnTo>
                    <a:pt x="117551" y="70988"/>
                  </a:lnTo>
                  <a:lnTo>
                    <a:pt x="106192" y="86269"/>
                  </a:lnTo>
                  <a:lnTo>
                    <a:pt x="99581" y="95622"/>
                  </a:lnTo>
                  <a:lnTo>
                    <a:pt x="99815" y="120086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Freeform 164"/>
            <p:cNvSpPr>
              <a:spLocks noChangeAspect="1"/>
            </p:cNvSpPr>
            <p:nvPr>
              <p:custDataLst>
                <p:tags r:id="rId163"/>
              </p:custDataLst>
            </p:nvPr>
          </p:nvSpPr>
          <p:spPr>
            <a:xfrm>
              <a:off x="4870481" y="3195393"/>
              <a:ext cx="415378" cy="236043"/>
            </a:xfrm>
            <a:custGeom>
              <a:avLst/>
              <a:gdLst/>
              <a:ahLst/>
              <a:cxnLst/>
              <a:rect l="0" t="0" r="0" b="0"/>
              <a:pathLst>
                <a:path w="415378" h="236043">
                  <a:moveTo>
                    <a:pt x="223911" y="7224"/>
                  </a:moveTo>
                  <a:lnTo>
                    <a:pt x="232531" y="8473"/>
                  </a:lnTo>
                  <a:lnTo>
                    <a:pt x="238363" y="1437"/>
                  </a:lnTo>
                  <a:lnTo>
                    <a:pt x="245373" y="2993"/>
                  </a:lnTo>
                  <a:lnTo>
                    <a:pt x="269308" y="0"/>
                  </a:lnTo>
                  <a:lnTo>
                    <a:pt x="284059" y="17488"/>
                  </a:lnTo>
                  <a:lnTo>
                    <a:pt x="278293" y="23713"/>
                  </a:lnTo>
                  <a:lnTo>
                    <a:pt x="280206" y="33225"/>
                  </a:lnTo>
                  <a:lnTo>
                    <a:pt x="298611" y="34706"/>
                  </a:lnTo>
                  <a:lnTo>
                    <a:pt x="306822" y="47927"/>
                  </a:lnTo>
                  <a:lnTo>
                    <a:pt x="306319" y="53903"/>
                  </a:lnTo>
                  <a:lnTo>
                    <a:pt x="335635" y="64548"/>
                  </a:lnTo>
                  <a:lnTo>
                    <a:pt x="353347" y="59759"/>
                  </a:lnTo>
                  <a:lnTo>
                    <a:pt x="367593" y="73895"/>
                  </a:lnTo>
                  <a:lnTo>
                    <a:pt x="381081" y="73569"/>
                  </a:lnTo>
                  <a:lnTo>
                    <a:pt x="415106" y="83348"/>
                  </a:lnTo>
                  <a:lnTo>
                    <a:pt x="415377" y="92139"/>
                  </a:lnTo>
                  <a:lnTo>
                    <a:pt x="406003" y="107744"/>
                  </a:lnTo>
                  <a:lnTo>
                    <a:pt x="411104" y="124077"/>
                  </a:lnTo>
                  <a:lnTo>
                    <a:pt x="407471" y="133906"/>
                  </a:lnTo>
                  <a:lnTo>
                    <a:pt x="385134" y="136063"/>
                  </a:lnTo>
                  <a:lnTo>
                    <a:pt x="373236" y="144258"/>
                  </a:lnTo>
                  <a:lnTo>
                    <a:pt x="372507" y="157246"/>
                  </a:lnTo>
                  <a:lnTo>
                    <a:pt x="354078" y="159577"/>
                  </a:lnTo>
                  <a:lnTo>
                    <a:pt x="338721" y="168988"/>
                  </a:lnTo>
                  <a:lnTo>
                    <a:pt x="317112" y="170519"/>
                  </a:lnTo>
                  <a:lnTo>
                    <a:pt x="297230" y="181317"/>
                  </a:lnTo>
                  <a:lnTo>
                    <a:pt x="298579" y="199240"/>
                  </a:lnTo>
                  <a:lnTo>
                    <a:pt x="309871" y="206160"/>
                  </a:lnTo>
                  <a:lnTo>
                    <a:pt x="333416" y="204441"/>
                  </a:lnTo>
                  <a:lnTo>
                    <a:pt x="328908" y="214650"/>
                  </a:lnTo>
                  <a:lnTo>
                    <a:pt x="303639" y="219594"/>
                  </a:lnTo>
                  <a:lnTo>
                    <a:pt x="272305" y="236042"/>
                  </a:lnTo>
                  <a:lnTo>
                    <a:pt x="259468" y="230270"/>
                  </a:lnTo>
                  <a:lnTo>
                    <a:pt x="264558" y="216890"/>
                  </a:lnTo>
                  <a:lnTo>
                    <a:pt x="239335" y="208524"/>
                  </a:lnTo>
                  <a:lnTo>
                    <a:pt x="243412" y="203030"/>
                  </a:lnTo>
                  <a:lnTo>
                    <a:pt x="265510" y="193480"/>
                  </a:lnTo>
                  <a:lnTo>
                    <a:pt x="258826" y="186880"/>
                  </a:lnTo>
                  <a:lnTo>
                    <a:pt x="222945" y="179578"/>
                  </a:lnTo>
                  <a:lnTo>
                    <a:pt x="221356" y="168769"/>
                  </a:lnTo>
                  <a:lnTo>
                    <a:pt x="199969" y="172343"/>
                  </a:lnTo>
                  <a:lnTo>
                    <a:pt x="191402" y="188269"/>
                  </a:lnTo>
                  <a:lnTo>
                    <a:pt x="173529" y="209501"/>
                  </a:lnTo>
                  <a:lnTo>
                    <a:pt x="163059" y="204586"/>
                  </a:lnTo>
                  <a:lnTo>
                    <a:pt x="152212" y="209194"/>
                  </a:lnTo>
                  <a:lnTo>
                    <a:pt x="141911" y="203916"/>
                  </a:lnTo>
                  <a:lnTo>
                    <a:pt x="147722" y="200799"/>
                  </a:lnTo>
                  <a:lnTo>
                    <a:pt x="151755" y="190933"/>
                  </a:lnTo>
                  <a:lnTo>
                    <a:pt x="158073" y="181733"/>
                  </a:lnTo>
                  <a:lnTo>
                    <a:pt x="156440" y="176552"/>
                  </a:lnTo>
                  <a:lnTo>
                    <a:pt x="161267" y="174240"/>
                  </a:lnTo>
                  <a:lnTo>
                    <a:pt x="163542" y="178249"/>
                  </a:lnTo>
                  <a:lnTo>
                    <a:pt x="177145" y="179096"/>
                  </a:lnTo>
                  <a:lnTo>
                    <a:pt x="183255" y="176956"/>
                  </a:lnTo>
                  <a:lnTo>
                    <a:pt x="178951" y="174018"/>
                  </a:lnTo>
                  <a:lnTo>
                    <a:pt x="180582" y="169695"/>
                  </a:lnTo>
                  <a:lnTo>
                    <a:pt x="172522" y="162304"/>
                  </a:lnTo>
                  <a:lnTo>
                    <a:pt x="169185" y="150106"/>
                  </a:lnTo>
                  <a:lnTo>
                    <a:pt x="160777" y="145318"/>
                  </a:lnTo>
                  <a:lnTo>
                    <a:pt x="162435" y="135373"/>
                  </a:lnTo>
                  <a:lnTo>
                    <a:pt x="152006" y="127449"/>
                  </a:lnTo>
                  <a:lnTo>
                    <a:pt x="142511" y="126346"/>
                  </a:lnTo>
                  <a:lnTo>
                    <a:pt x="125499" y="117137"/>
                  </a:lnTo>
                  <a:lnTo>
                    <a:pt x="110156" y="120064"/>
                  </a:lnTo>
                  <a:lnTo>
                    <a:pt x="104651" y="124422"/>
                  </a:lnTo>
                  <a:lnTo>
                    <a:pt x="94913" y="124418"/>
                  </a:lnTo>
                  <a:lnTo>
                    <a:pt x="89107" y="131310"/>
                  </a:lnTo>
                  <a:lnTo>
                    <a:pt x="72068" y="134138"/>
                  </a:lnTo>
                  <a:lnTo>
                    <a:pt x="64187" y="138651"/>
                  </a:lnTo>
                  <a:lnTo>
                    <a:pt x="53470" y="131465"/>
                  </a:lnTo>
                  <a:lnTo>
                    <a:pt x="38672" y="131355"/>
                  </a:lnTo>
                  <a:lnTo>
                    <a:pt x="24390" y="128093"/>
                  </a:lnTo>
                  <a:lnTo>
                    <a:pt x="14425" y="134399"/>
                  </a:lnTo>
                  <a:lnTo>
                    <a:pt x="12816" y="126503"/>
                  </a:lnTo>
                  <a:lnTo>
                    <a:pt x="0" y="118465"/>
                  </a:lnTo>
                  <a:lnTo>
                    <a:pt x="4507" y="106508"/>
                  </a:lnTo>
                  <a:lnTo>
                    <a:pt x="10907" y="98757"/>
                  </a:lnTo>
                  <a:lnTo>
                    <a:pt x="15946" y="100497"/>
                  </a:lnTo>
                  <a:lnTo>
                    <a:pt x="9992" y="87073"/>
                  </a:lnTo>
                  <a:lnTo>
                    <a:pt x="30952" y="62042"/>
                  </a:lnTo>
                  <a:lnTo>
                    <a:pt x="42407" y="58520"/>
                  </a:lnTo>
                  <a:lnTo>
                    <a:pt x="44882" y="50010"/>
                  </a:lnTo>
                  <a:lnTo>
                    <a:pt x="33273" y="23343"/>
                  </a:lnTo>
                  <a:lnTo>
                    <a:pt x="44307" y="22145"/>
                  </a:lnTo>
                  <a:lnTo>
                    <a:pt x="56957" y="13805"/>
                  </a:lnTo>
                  <a:lnTo>
                    <a:pt x="74838" y="13121"/>
                  </a:lnTo>
                  <a:lnTo>
                    <a:pt x="98156" y="15536"/>
                  </a:lnTo>
                  <a:lnTo>
                    <a:pt x="123919" y="22918"/>
                  </a:lnTo>
                  <a:lnTo>
                    <a:pt x="142098" y="23534"/>
                  </a:lnTo>
                  <a:lnTo>
                    <a:pt x="150776" y="27967"/>
                  </a:lnTo>
                  <a:lnTo>
                    <a:pt x="159438" y="22618"/>
                  </a:lnTo>
                  <a:lnTo>
                    <a:pt x="165488" y="29790"/>
                  </a:lnTo>
                  <a:lnTo>
                    <a:pt x="186318" y="28322"/>
                  </a:lnTo>
                  <a:lnTo>
                    <a:pt x="195499" y="31282"/>
                  </a:lnTo>
                  <a:lnTo>
                    <a:pt x="196984" y="15828"/>
                  </a:lnTo>
                  <a:lnTo>
                    <a:pt x="204096" y="905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Freeform 165"/>
            <p:cNvSpPr>
              <a:spLocks noChangeAspect="1"/>
            </p:cNvSpPr>
            <p:nvPr>
              <p:custDataLst>
                <p:tags r:id="rId164"/>
              </p:custDataLst>
            </p:nvPr>
          </p:nvSpPr>
          <p:spPr>
            <a:xfrm>
              <a:off x="5651676" y="3396483"/>
              <a:ext cx="395326" cy="232838"/>
            </a:xfrm>
            <a:custGeom>
              <a:avLst/>
              <a:gdLst/>
              <a:ahLst/>
              <a:cxnLst/>
              <a:rect l="0" t="0" r="0" b="0"/>
              <a:pathLst>
                <a:path w="395326" h="232838">
                  <a:moveTo>
                    <a:pt x="244438" y="227044"/>
                  </a:moveTo>
                  <a:lnTo>
                    <a:pt x="245074" y="210712"/>
                  </a:lnTo>
                  <a:lnTo>
                    <a:pt x="214370" y="199240"/>
                  </a:lnTo>
                  <a:lnTo>
                    <a:pt x="190231" y="186063"/>
                  </a:lnTo>
                  <a:lnTo>
                    <a:pt x="175176" y="173344"/>
                  </a:lnTo>
                  <a:lnTo>
                    <a:pt x="148775" y="154593"/>
                  </a:lnTo>
                  <a:lnTo>
                    <a:pt x="137429" y="126390"/>
                  </a:lnTo>
                  <a:lnTo>
                    <a:pt x="129684" y="121398"/>
                  </a:lnTo>
                  <a:lnTo>
                    <a:pt x="104727" y="122665"/>
                  </a:lnTo>
                  <a:lnTo>
                    <a:pt x="95894" y="117024"/>
                  </a:lnTo>
                  <a:lnTo>
                    <a:pt x="93427" y="94946"/>
                  </a:lnTo>
                  <a:lnTo>
                    <a:pt x="62325" y="80234"/>
                  </a:lnTo>
                  <a:lnTo>
                    <a:pt x="42878" y="96405"/>
                  </a:lnTo>
                  <a:lnTo>
                    <a:pt x="23158" y="105952"/>
                  </a:lnTo>
                  <a:lnTo>
                    <a:pt x="26948" y="119857"/>
                  </a:lnTo>
                  <a:lnTo>
                    <a:pt x="906" y="120234"/>
                  </a:lnTo>
                  <a:lnTo>
                    <a:pt x="0" y="16911"/>
                  </a:lnTo>
                  <a:lnTo>
                    <a:pt x="59419" y="0"/>
                  </a:lnTo>
                  <a:lnTo>
                    <a:pt x="63733" y="2490"/>
                  </a:lnTo>
                  <a:lnTo>
                    <a:pt x="99510" y="22947"/>
                  </a:lnTo>
                  <a:lnTo>
                    <a:pt x="118400" y="33695"/>
                  </a:lnTo>
                  <a:lnTo>
                    <a:pt x="140443" y="59145"/>
                  </a:lnTo>
                  <a:lnTo>
                    <a:pt x="167508" y="55049"/>
                  </a:lnTo>
                  <a:lnTo>
                    <a:pt x="207095" y="52852"/>
                  </a:lnTo>
                  <a:lnTo>
                    <a:pt x="234729" y="73357"/>
                  </a:lnTo>
                  <a:lnTo>
                    <a:pt x="233007" y="101283"/>
                  </a:lnTo>
                  <a:lnTo>
                    <a:pt x="244254" y="101478"/>
                  </a:lnTo>
                  <a:lnTo>
                    <a:pt x="248949" y="124092"/>
                  </a:lnTo>
                  <a:lnTo>
                    <a:pt x="278306" y="124984"/>
                  </a:lnTo>
                  <a:lnTo>
                    <a:pt x="284631" y="137980"/>
                  </a:lnTo>
                  <a:lnTo>
                    <a:pt x="293232" y="137806"/>
                  </a:lnTo>
                  <a:lnTo>
                    <a:pt x="303331" y="118151"/>
                  </a:lnTo>
                  <a:lnTo>
                    <a:pt x="333776" y="98881"/>
                  </a:lnTo>
                  <a:lnTo>
                    <a:pt x="347011" y="93750"/>
                  </a:lnTo>
                  <a:lnTo>
                    <a:pt x="353864" y="96484"/>
                  </a:lnTo>
                  <a:lnTo>
                    <a:pt x="334493" y="114408"/>
                  </a:lnTo>
                  <a:lnTo>
                    <a:pt x="351524" y="124775"/>
                  </a:lnTo>
                  <a:lnTo>
                    <a:pt x="367965" y="117913"/>
                  </a:lnTo>
                  <a:lnTo>
                    <a:pt x="395325" y="132398"/>
                  </a:lnTo>
                  <a:lnTo>
                    <a:pt x="365766" y="152088"/>
                  </a:lnTo>
                  <a:lnTo>
                    <a:pt x="348208" y="149402"/>
                  </a:lnTo>
                  <a:lnTo>
                    <a:pt x="338680" y="150106"/>
                  </a:lnTo>
                  <a:lnTo>
                    <a:pt x="335373" y="142517"/>
                  </a:lnTo>
                  <a:lnTo>
                    <a:pt x="340185" y="129813"/>
                  </a:lnTo>
                  <a:lnTo>
                    <a:pt x="309321" y="136186"/>
                  </a:lnTo>
                  <a:lnTo>
                    <a:pt x="301984" y="153714"/>
                  </a:lnTo>
                  <a:lnTo>
                    <a:pt x="291014" y="168733"/>
                  </a:lnTo>
                  <a:lnTo>
                    <a:pt x="271741" y="167458"/>
                  </a:lnTo>
                  <a:lnTo>
                    <a:pt x="265757" y="179377"/>
                  </a:lnTo>
                  <a:lnTo>
                    <a:pt x="282695" y="185817"/>
                  </a:lnTo>
                  <a:lnTo>
                    <a:pt x="287682" y="205830"/>
                  </a:lnTo>
                  <a:lnTo>
                    <a:pt x="274708" y="232837"/>
                  </a:lnTo>
                  <a:lnTo>
                    <a:pt x="257299" y="22722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Freeform 166"/>
            <p:cNvSpPr>
              <a:spLocks noChangeAspect="1"/>
            </p:cNvSpPr>
            <p:nvPr>
              <p:custDataLst>
                <p:tags r:id="rId165"/>
              </p:custDataLst>
            </p:nvPr>
          </p:nvSpPr>
          <p:spPr>
            <a:xfrm>
              <a:off x="6719053" y="3979130"/>
              <a:ext cx="165385" cy="349858"/>
            </a:xfrm>
            <a:custGeom>
              <a:avLst/>
              <a:gdLst/>
              <a:ahLst/>
              <a:cxnLst/>
              <a:rect l="0" t="0" r="0" b="0"/>
              <a:pathLst>
                <a:path w="165385" h="349858">
                  <a:moveTo>
                    <a:pt x="135721" y="43671"/>
                  </a:moveTo>
                  <a:lnTo>
                    <a:pt x="104903" y="64310"/>
                  </a:lnTo>
                  <a:lnTo>
                    <a:pt x="85666" y="87018"/>
                  </a:lnTo>
                  <a:lnTo>
                    <a:pt x="80596" y="103642"/>
                  </a:lnTo>
                  <a:lnTo>
                    <a:pt x="98249" y="128810"/>
                  </a:lnTo>
                  <a:lnTo>
                    <a:pt x="119835" y="159879"/>
                  </a:lnTo>
                  <a:lnTo>
                    <a:pt x="140783" y="174519"/>
                  </a:lnTo>
                  <a:lnTo>
                    <a:pt x="154809" y="193509"/>
                  </a:lnTo>
                  <a:lnTo>
                    <a:pt x="165384" y="237101"/>
                  </a:lnTo>
                  <a:lnTo>
                    <a:pt x="162265" y="278339"/>
                  </a:lnTo>
                  <a:lnTo>
                    <a:pt x="143013" y="293732"/>
                  </a:lnTo>
                  <a:lnTo>
                    <a:pt x="116579" y="308761"/>
                  </a:lnTo>
                  <a:lnTo>
                    <a:pt x="97748" y="328191"/>
                  </a:lnTo>
                  <a:lnTo>
                    <a:pt x="68968" y="349857"/>
                  </a:lnTo>
                  <a:lnTo>
                    <a:pt x="60587" y="334938"/>
                  </a:lnTo>
                  <a:lnTo>
                    <a:pt x="67073" y="319160"/>
                  </a:lnTo>
                  <a:lnTo>
                    <a:pt x="49949" y="305913"/>
                  </a:lnTo>
                  <a:lnTo>
                    <a:pt x="69929" y="296512"/>
                  </a:lnTo>
                  <a:lnTo>
                    <a:pt x="94161" y="294819"/>
                  </a:lnTo>
                  <a:lnTo>
                    <a:pt x="84023" y="280660"/>
                  </a:lnTo>
                  <a:lnTo>
                    <a:pt x="122822" y="262646"/>
                  </a:lnTo>
                  <a:lnTo>
                    <a:pt x="125665" y="234528"/>
                  </a:lnTo>
                  <a:lnTo>
                    <a:pt x="120314" y="218840"/>
                  </a:lnTo>
                  <a:lnTo>
                    <a:pt x="124511" y="195269"/>
                  </a:lnTo>
                  <a:lnTo>
                    <a:pt x="118698" y="178572"/>
                  </a:lnTo>
                  <a:lnTo>
                    <a:pt x="101231" y="162089"/>
                  </a:lnTo>
                  <a:lnTo>
                    <a:pt x="86684" y="141162"/>
                  </a:lnTo>
                  <a:lnTo>
                    <a:pt x="67498" y="112994"/>
                  </a:lnTo>
                  <a:lnTo>
                    <a:pt x="39843" y="98687"/>
                  </a:lnTo>
                  <a:lnTo>
                    <a:pt x="46465" y="90073"/>
                  </a:lnTo>
                  <a:lnTo>
                    <a:pt x="61219" y="83789"/>
                  </a:lnTo>
                  <a:lnTo>
                    <a:pt x="52272" y="62820"/>
                  </a:lnTo>
                  <a:lnTo>
                    <a:pt x="23855" y="62631"/>
                  </a:lnTo>
                  <a:lnTo>
                    <a:pt x="13491" y="40703"/>
                  </a:lnTo>
                  <a:lnTo>
                    <a:pt x="0" y="21576"/>
                  </a:lnTo>
                  <a:lnTo>
                    <a:pt x="12386" y="15650"/>
                  </a:lnTo>
                  <a:lnTo>
                    <a:pt x="30795" y="15773"/>
                  </a:lnTo>
                  <a:lnTo>
                    <a:pt x="53239" y="12969"/>
                  </a:lnTo>
                  <a:lnTo>
                    <a:pt x="72914" y="0"/>
                  </a:lnTo>
                  <a:lnTo>
                    <a:pt x="84040" y="9133"/>
                  </a:lnTo>
                  <a:lnTo>
                    <a:pt x="105141" y="13574"/>
                  </a:lnTo>
                  <a:lnTo>
                    <a:pt x="101491" y="27555"/>
                  </a:lnTo>
                  <a:lnTo>
                    <a:pt x="112482" y="37395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Freeform 167"/>
            <p:cNvSpPr>
              <a:spLocks noChangeAspect="1"/>
            </p:cNvSpPr>
            <p:nvPr>
              <p:custDataLst>
                <p:tags r:id="rId166"/>
              </p:custDataLst>
            </p:nvPr>
          </p:nvSpPr>
          <p:spPr>
            <a:xfrm>
              <a:off x="8206932" y="4867961"/>
              <a:ext cx="28063" cy="46609"/>
            </a:xfrm>
            <a:custGeom>
              <a:avLst/>
              <a:gdLst/>
              <a:ahLst/>
              <a:cxnLst/>
              <a:rect l="l" t="t" r="r" b="b"/>
              <a:pathLst>
                <a:path w="28063" h="46609">
                  <a:moveTo>
                    <a:pt x="13565" y="29884"/>
                  </a:moveTo>
                  <a:lnTo>
                    <a:pt x="28063" y="43490"/>
                  </a:lnTo>
                  <a:lnTo>
                    <a:pt x="20453" y="46609"/>
                  </a:lnTo>
                  <a:lnTo>
                    <a:pt x="12717" y="36232"/>
                  </a:lnTo>
                  <a:close/>
                  <a:moveTo>
                    <a:pt x="0" y="0"/>
                  </a:moveTo>
                  <a:lnTo>
                    <a:pt x="11048" y="7250"/>
                  </a:lnTo>
                  <a:lnTo>
                    <a:pt x="14795" y="26292"/>
                  </a:lnTo>
                  <a:lnTo>
                    <a:pt x="8589" y="23326"/>
                  </a:lnTo>
                  <a:lnTo>
                    <a:pt x="3787" y="24608"/>
                  </a:lnTo>
                  <a:lnTo>
                    <a:pt x="479" y="1808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Freeform 168"/>
            <p:cNvSpPr>
              <a:spLocks noChangeAspect="1"/>
            </p:cNvSpPr>
            <p:nvPr>
              <p:custDataLst>
                <p:tags r:id="rId167"/>
              </p:custDataLst>
            </p:nvPr>
          </p:nvSpPr>
          <p:spPr>
            <a:xfrm>
              <a:off x="5344121" y="4084163"/>
              <a:ext cx="242455" cy="151784"/>
            </a:xfrm>
            <a:custGeom>
              <a:avLst/>
              <a:gdLst/>
              <a:ahLst/>
              <a:cxnLst/>
              <a:rect l="0" t="0" r="0" b="0"/>
              <a:pathLst>
                <a:path w="242455" h="151784">
                  <a:moveTo>
                    <a:pt x="242454" y="55947"/>
                  </a:moveTo>
                  <a:lnTo>
                    <a:pt x="225756" y="62316"/>
                  </a:lnTo>
                  <a:lnTo>
                    <a:pt x="221290" y="72831"/>
                  </a:lnTo>
                  <a:lnTo>
                    <a:pt x="220746" y="80897"/>
                  </a:lnTo>
                  <a:lnTo>
                    <a:pt x="197764" y="90871"/>
                  </a:lnTo>
                  <a:lnTo>
                    <a:pt x="160879" y="101878"/>
                  </a:lnTo>
                  <a:lnTo>
                    <a:pt x="140212" y="118497"/>
                  </a:lnTo>
                  <a:lnTo>
                    <a:pt x="130050" y="119794"/>
                  </a:lnTo>
                  <a:lnTo>
                    <a:pt x="123124" y="118402"/>
                  </a:lnTo>
                  <a:lnTo>
                    <a:pt x="109633" y="128162"/>
                  </a:lnTo>
                  <a:lnTo>
                    <a:pt x="94921" y="132686"/>
                  </a:lnTo>
                  <a:lnTo>
                    <a:pt x="75543" y="133906"/>
                  </a:lnTo>
                  <a:lnTo>
                    <a:pt x="69714" y="135241"/>
                  </a:lnTo>
                  <a:lnTo>
                    <a:pt x="64668" y="141440"/>
                  </a:lnTo>
                  <a:lnTo>
                    <a:pt x="58618" y="143152"/>
                  </a:lnTo>
                  <a:lnTo>
                    <a:pt x="55044" y="149119"/>
                  </a:lnTo>
                  <a:lnTo>
                    <a:pt x="43619" y="148602"/>
                  </a:lnTo>
                  <a:lnTo>
                    <a:pt x="36245" y="151783"/>
                  </a:lnTo>
                  <a:lnTo>
                    <a:pt x="20269" y="150591"/>
                  </a:lnTo>
                  <a:lnTo>
                    <a:pt x="14265" y="136884"/>
                  </a:lnTo>
                  <a:lnTo>
                    <a:pt x="14925" y="124039"/>
                  </a:lnTo>
                  <a:lnTo>
                    <a:pt x="11151" y="117098"/>
                  </a:lnTo>
                  <a:lnTo>
                    <a:pt x="6633" y="99673"/>
                  </a:lnTo>
                  <a:lnTo>
                    <a:pt x="0" y="89972"/>
                  </a:lnTo>
                  <a:lnTo>
                    <a:pt x="4620" y="88824"/>
                  </a:lnTo>
                  <a:lnTo>
                    <a:pt x="2252" y="78025"/>
                  </a:lnTo>
                  <a:lnTo>
                    <a:pt x="5051" y="73463"/>
                  </a:lnTo>
                  <a:lnTo>
                    <a:pt x="4027" y="63134"/>
                  </a:lnTo>
                  <a:lnTo>
                    <a:pt x="14161" y="55571"/>
                  </a:lnTo>
                  <a:lnTo>
                    <a:pt x="11794" y="45564"/>
                  </a:lnTo>
                  <a:lnTo>
                    <a:pt x="17910" y="33877"/>
                  </a:lnTo>
                  <a:lnTo>
                    <a:pt x="27391" y="40061"/>
                  </a:lnTo>
                  <a:lnTo>
                    <a:pt x="33648" y="37912"/>
                  </a:lnTo>
                  <a:lnTo>
                    <a:pt x="60287" y="37366"/>
                  </a:lnTo>
                  <a:lnTo>
                    <a:pt x="64519" y="39744"/>
                  </a:lnTo>
                  <a:lnTo>
                    <a:pt x="86832" y="42122"/>
                  </a:lnTo>
                  <a:lnTo>
                    <a:pt x="95680" y="40932"/>
                  </a:lnTo>
                  <a:lnTo>
                    <a:pt x="101451" y="48852"/>
                  </a:lnTo>
                  <a:lnTo>
                    <a:pt x="112224" y="44893"/>
                  </a:lnTo>
                  <a:lnTo>
                    <a:pt x="128766" y="19902"/>
                  </a:lnTo>
                  <a:lnTo>
                    <a:pt x="150310" y="9162"/>
                  </a:lnTo>
                  <a:lnTo>
                    <a:pt x="216865" y="0"/>
                  </a:lnTo>
                  <a:lnTo>
                    <a:pt x="234919" y="3935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Freeform 169"/>
            <p:cNvSpPr>
              <a:spLocks noChangeAspect="1"/>
            </p:cNvSpPr>
            <p:nvPr>
              <p:custDataLst>
                <p:tags r:id="rId168"/>
              </p:custDataLst>
            </p:nvPr>
          </p:nvSpPr>
          <p:spPr>
            <a:xfrm>
              <a:off x="4737973" y="5046181"/>
              <a:ext cx="380521" cy="319180"/>
            </a:xfrm>
            <a:custGeom>
              <a:avLst/>
              <a:gdLst/>
              <a:ahLst/>
              <a:cxnLst/>
              <a:rect l="l" t="t" r="r" b="b"/>
              <a:pathLst>
                <a:path w="380521" h="319180">
                  <a:moveTo>
                    <a:pt x="281533" y="161424"/>
                  </a:moveTo>
                  <a:lnTo>
                    <a:pt x="270745" y="166538"/>
                  </a:lnTo>
                  <a:lnTo>
                    <a:pt x="258239" y="176367"/>
                  </a:lnTo>
                  <a:lnTo>
                    <a:pt x="245930" y="192323"/>
                  </a:lnTo>
                  <a:lnTo>
                    <a:pt x="263245" y="211790"/>
                  </a:lnTo>
                  <a:lnTo>
                    <a:pt x="271504" y="209269"/>
                  </a:lnTo>
                  <a:lnTo>
                    <a:pt x="275748" y="201176"/>
                  </a:lnTo>
                  <a:lnTo>
                    <a:pt x="288613" y="197227"/>
                  </a:lnTo>
                  <a:lnTo>
                    <a:pt x="292537" y="188987"/>
                  </a:lnTo>
                  <a:lnTo>
                    <a:pt x="299618" y="176735"/>
                  </a:lnTo>
                  <a:lnTo>
                    <a:pt x="291610" y="169152"/>
                  </a:lnTo>
                  <a:close/>
                  <a:moveTo>
                    <a:pt x="302088" y="0"/>
                  </a:moveTo>
                  <a:lnTo>
                    <a:pt x="311479" y="264"/>
                  </a:lnTo>
                  <a:lnTo>
                    <a:pt x="322648" y="4370"/>
                  </a:lnTo>
                  <a:lnTo>
                    <a:pt x="330426" y="1460"/>
                  </a:lnTo>
                  <a:lnTo>
                    <a:pt x="342696" y="3882"/>
                  </a:lnTo>
                  <a:lnTo>
                    <a:pt x="353752" y="38114"/>
                  </a:lnTo>
                  <a:lnTo>
                    <a:pt x="359758" y="55480"/>
                  </a:lnTo>
                  <a:lnTo>
                    <a:pt x="355645" y="82856"/>
                  </a:lnTo>
                  <a:lnTo>
                    <a:pt x="357615" y="91706"/>
                  </a:lnTo>
                  <a:lnTo>
                    <a:pt x="345968" y="87190"/>
                  </a:lnTo>
                  <a:lnTo>
                    <a:pt x="339295" y="88947"/>
                  </a:lnTo>
                  <a:lnTo>
                    <a:pt x="337116" y="96132"/>
                  </a:lnTo>
                  <a:lnTo>
                    <a:pt x="330813" y="105413"/>
                  </a:lnTo>
                  <a:lnTo>
                    <a:pt x="331029" y="113977"/>
                  </a:lnTo>
                  <a:lnTo>
                    <a:pt x="344805" y="127435"/>
                  </a:lnTo>
                  <a:lnTo>
                    <a:pt x="358315" y="124751"/>
                  </a:lnTo>
                  <a:lnTo>
                    <a:pt x="363014" y="113728"/>
                  </a:lnTo>
                  <a:lnTo>
                    <a:pt x="380521" y="113936"/>
                  </a:lnTo>
                  <a:lnTo>
                    <a:pt x="374754" y="132019"/>
                  </a:lnTo>
                  <a:lnTo>
                    <a:pt x="372027" y="152749"/>
                  </a:lnTo>
                  <a:lnTo>
                    <a:pt x="366055" y="164053"/>
                  </a:lnTo>
                  <a:lnTo>
                    <a:pt x="350303" y="176735"/>
                  </a:lnTo>
                  <a:lnTo>
                    <a:pt x="345792" y="180374"/>
                  </a:lnTo>
                  <a:lnTo>
                    <a:pt x="336010" y="193182"/>
                  </a:lnTo>
                  <a:lnTo>
                    <a:pt x="329571" y="206178"/>
                  </a:lnTo>
                  <a:lnTo>
                    <a:pt x="316481" y="224372"/>
                  </a:lnTo>
                  <a:lnTo>
                    <a:pt x="290394" y="250720"/>
                  </a:lnTo>
                  <a:lnTo>
                    <a:pt x="274102" y="266124"/>
                  </a:lnTo>
                  <a:lnTo>
                    <a:pt x="256671" y="277850"/>
                  </a:lnTo>
                  <a:lnTo>
                    <a:pt x="232546" y="287878"/>
                  </a:lnTo>
                  <a:lnTo>
                    <a:pt x="220779" y="289226"/>
                  </a:lnTo>
                  <a:lnTo>
                    <a:pt x="217800" y="296421"/>
                  </a:lnTo>
                  <a:lnTo>
                    <a:pt x="203771" y="292589"/>
                  </a:lnTo>
                  <a:lnTo>
                    <a:pt x="192345" y="297524"/>
                  </a:lnTo>
                  <a:lnTo>
                    <a:pt x="167328" y="292527"/>
                  </a:lnTo>
                  <a:lnTo>
                    <a:pt x="153343" y="295689"/>
                  </a:lnTo>
                  <a:lnTo>
                    <a:pt x="143787" y="294331"/>
                  </a:lnTo>
                  <a:lnTo>
                    <a:pt x="119980" y="304581"/>
                  </a:lnTo>
                  <a:lnTo>
                    <a:pt x="100273" y="308700"/>
                  </a:lnTo>
                  <a:lnTo>
                    <a:pt x="86013" y="318552"/>
                  </a:lnTo>
                  <a:lnTo>
                    <a:pt x="75514" y="319180"/>
                  </a:lnTo>
                  <a:lnTo>
                    <a:pt x="65747" y="309883"/>
                  </a:lnTo>
                  <a:lnTo>
                    <a:pt x="57946" y="309406"/>
                  </a:lnTo>
                  <a:lnTo>
                    <a:pt x="48004" y="297802"/>
                  </a:lnTo>
                  <a:lnTo>
                    <a:pt x="46914" y="301402"/>
                  </a:lnTo>
                  <a:lnTo>
                    <a:pt x="43846" y="294427"/>
                  </a:lnTo>
                  <a:lnTo>
                    <a:pt x="43975" y="279256"/>
                  </a:lnTo>
                  <a:lnTo>
                    <a:pt x="36476" y="261993"/>
                  </a:lnTo>
                  <a:lnTo>
                    <a:pt x="43925" y="257314"/>
                  </a:lnTo>
                  <a:lnTo>
                    <a:pt x="43321" y="237663"/>
                  </a:lnTo>
                  <a:lnTo>
                    <a:pt x="28206" y="213835"/>
                  </a:lnTo>
                  <a:lnTo>
                    <a:pt x="16607" y="192391"/>
                  </a:lnTo>
                  <a:lnTo>
                    <a:pt x="16572" y="192323"/>
                  </a:lnTo>
                  <a:lnTo>
                    <a:pt x="0" y="159650"/>
                  </a:lnTo>
                  <a:lnTo>
                    <a:pt x="11058" y="147279"/>
                  </a:lnTo>
                  <a:lnTo>
                    <a:pt x="20174" y="154123"/>
                  </a:lnTo>
                  <a:lnTo>
                    <a:pt x="24064" y="164833"/>
                  </a:lnTo>
                  <a:lnTo>
                    <a:pt x="34420" y="166661"/>
                  </a:lnTo>
                  <a:lnTo>
                    <a:pt x="48934" y="171409"/>
                  </a:lnTo>
                  <a:lnTo>
                    <a:pt x="61334" y="169575"/>
                  </a:lnTo>
                  <a:lnTo>
                    <a:pt x="81938" y="156755"/>
                  </a:lnTo>
                  <a:lnTo>
                    <a:pt x="81962" y="65245"/>
                  </a:lnTo>
                  <a:lnTo>
                    <a:pt x="88193" y="68931"/>
                  </a:lnTo>
                  <a:lnTo>
                    <a:pt x="101879" y="92318"/>
                  </a:lnTo>
                  <a:lnTo>
                    <a:pt x="99752" y="107377"/>
                  </a:lnTo>
                  <a:lnTo>
                    <a:pt x="104903" y="116077"/>
                  </a:lnTo>
                  <a:lnTo>
                    <a:pt x="121436" y="113547"/>
                  </a:lnTo>
                  <a:lnTo>
                    <a:pt x="132980" y="102498"/>
                  </a:lnTo>
                  <a:lnTo>
                    <a:pt x="143911" y="95066"/>
                  </a:lnTo>
                  <a:lnTo>
                    <a:pt x="149560" y="83255"/>
                  </a:lnTo>
                  <a:lnTo>
                    <a:pt x="160820" y="77550"/>
                  </a:lnTo>
                  <a:lnTo>
                    <a:pt x="170549" y="80538"/>
                  </a:lnTo>
                  <a:lnTo>
                    <a:pt x="181575" y="87437"/>
                  </a:lnTo>
                  <a:lnTo>
                    <a:pt x="200362" y="88656"/>
                  </a:lnTo>
                  <a:lnTo>
                    <a:pt x="215124" y="82919"/>
                  </a:lnTo>
                  <a:lnTo>
                    <a:pt x="217459" y="75242"/>
                  </a:lnTo>
                  <a:lnTo>
                    <a:pt x="221517" y="63493"/>
                  </a:lnTo>
                  <a:lnTo>
                    <a:pt x="234076" y="61530"/>
                  </a:lnTo>
                  <a:lnTo>
                    <a:pt x="241016" y="52329"/>
                  </a:lnTo>
                  <a:lnTo>
                    <a:pt x="248703" y="36049"/>
                  </a:lnTo>
                  <a:lnTo>
                    <a:pt x="269427" y="1787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Freeform 170"/>
            <p:cNvSpPr>
              <a:spLocks noChangeAspect="1"/>
            </p:cNvSpPr>
            <p:nvPr>
              <p:custDataLst>
                <p:tags r:id="rId169"/>
              </p:custDataLst>
            </p:nvPr>
          </p:nvSpPr>
          <p:spPr>
            <a:xfrm>
              <a:off x="4865917" y="4718552"/>
              <a:ext cx="267710" cy="228428"/>
            </a:xfrm>
            <a:custGeom>
              <a:avLst/>
              <a:gdLst/>
              <a:ahLst/>
              <a:cxnLst/>
              <a:rect l="0" t="0" r="0" b="0"/>
              <a:pathLst>
                <a:path w="267710" h="228428">
                  <a:moveTo>
                    <a:pt x="250944" y="23078"/>
                  </a:moveTo>
                  <a:lnTo>
                    <a:pt x="261839" y="33466"/>
                  </a:lnTo>
                  <a:lnTo>
                    <a:pt x="267709" y="53256"/>
                  </a:lnTo>
                  <a:lnTo>
                    <a:pt x="263776" y="59581"/>
                  </a:lnTo>
                  <a:lnTo>
                    <a:pt x="259136" y="78525"/>
                  </a:lnTo>
                  <a:lnTo>
                    <a:pt x="263571" y="97923"/>
                  </a:lnTo>
                  <a:lnTo>
                    <a:pt x="256308" y="106084"/>
                  </a:lnTo>
                  <a:lnTo>
                    <a:pt x="249300" y="127900"/>
                  </a:lnTo>
                  <a:lnTo>
                    <a:pt x="261438" y="133992"/>
                  </a:lnTo>
                  <a:lnTo>
                    <a:pt x="191393" y="153408"/>
                  </a:lnTo>
                  <a:lnTo>
                    <a:pt x="193580" y="170210"/>
                  </a:lnTo>
                  <a:lnTo>
                    <a:pt x="176097" y="173446"/>
                  </a:lnTo>
                  <a:lnTo>
                    <a:pt x="162954" y="182871"/>
                  </a:lnTo>
                  <a:lnTo>
                    <a:pt x="160148" y="191084"/>
                  </a:lnTo>
                  <a:lnTo>
                    <a:pt x="151885" y="192948"/>
                  </a:lnTo>
                  <a:lnTo>
                    <a:pt x="131811" y="212472"/>
                  </a:lnTo>
                  <a:lnTo>
                    <a:pt x="119027" y="227874"/>
                  </a:lnTo>
                  <a:lnTo>
                    <a:pt x="111233" y="228427"/>
                  </a:lnTo>
                  <a:lnTo>
                    <a:pt x="103735" y="225683"/>
                  </a:lnTo>
                  <a:lnTo>
                    <a:pt x="77935" y="223075"/>
                  </a:lnTo>
                  <a:lnTo>
                    <a:pt x="73785" y="221296"/>
                  </a:lnTo>
                  <a:lnTo>
                    <a:pt x="73613" y="219321"/>
                  </a:lnTo>
                  <a:lnTo>
                    <a:pt x="64504" y="213960"/>
                  </a:lnTo>
                  <a:lnTo>
                    <a:pt x="49535" y="212591"/>
                  </a:lnTo>
                  <a:lnTo>
                    <a:pt x="30635" y="217996"/>
                  </a:lnTo>
                  <a:lnTo>
                    <a:pt x="15572" y="203150"/>
                  </a:lnTo>
                  <a:lnTo>
                    <a:pt x="0" y="183754"/>
                  </a:lnTo>
                  <a:lnTo>
                    <a:pt x="1062" y="108772"/>
                  </a:lnTo>
                  <a:lnTo>
                    <a:pt x="49126" y="109068"/>
                  </a:lnTo>
                  <a:lnTo>
                    <a:pt x="47159" y="100972"/>
                  </a:lnTo>
                  <a:lnTo>
                    <a:pt x="50598" y="92195"/>
                  </a:lnTo>
                  <a:lnTo>
                    <a:pt x="46541" y="81217"/>
                  </a:lnTo>
                  <a:lnTo>
                    <a:pt x="49167" y="69876"/>
                  </a:lnTo>
                  <a:lnTo>
                    <a:pt x="46727" y="62623"/>
                  </a:lnTo>
                  <a:lnTo>
                    <a:pt x="54690" y="63211"/>
                  </a:lnTo>
                  <a:lnTo>
                    <a:pt x="56014" y="70473"/>
                  </a:lnTo>
                  <a:lnTo>
                    <a:pt x="66832" y="69909"/>
                  </a:lnTo>
                  <a:lnTo>
                    <a:pt x="81488" y="72065"/>
                  </a:lnTo>
                  <a:lnTo>
                    <a:pt x="89202" y="82683"/>
                  </a:lnTo>
                  <a:lnTo>
                    <a:pt x="107686" y="85947"/>
                  </a:lnTo>
                  <a:lnTo>
                    <a:pt x="121797" y="78561"/>
                  </a:lnTo>
                  <a:lnTo>
                    <a:pt x="126976" y="90824"/>
                  </a:lnTo>
                  <a:lnTo>
                    <a:pt x="144665" y="94097"/>
                  </a:lnTo>
                  <a:lnTo>
                    <a:pt x="153170" y="104084"/>
                  </a:lnTo>
                  <a:lnTo>
                    <a:pt x="162650" y="116999"/>
                  </a:lnTo>
                  <a:lnTo>
                    <a:pt x="180316" y="117194"/>
                  </a:lnTo>
                  <a:lnTo>
                    <a:pt x="178386" y="91905"/>
                  </a:lnTo>
                  <a:lnTo>
                    <a:pt x="172051" y="96165"/>
                  </a:lnTo>
                  <a:lnTo>
                    <a:pt x="155913" y="87050"/>
                  </a:lnTo>
                  <a:lnTo>
                    <a:pt x="149677" y="82886"/>
                  </a:lnTo>
                  <a:lnTo>
                    <a:pt x="152535" y="59425"/>
                  </a:lnTo>
                  <a:lnTo>
                    <a:pt x="156635" y="31817"/>
                  </a:lnTo>
                  <a:lnTo>
                    <a:pt x="151469" y="21549"/>
                  </a:lnTo>
                  <a:lnTo>
                    <a:pt x="158047" y="6701"/>
                  </a:lnTo>
                  <a:lnTo>
                    <a:pt x="164234" y="3923"/>
                  </a:lnTo>
                  <a:lnTo>
                    <a:pt x="195238" y="0"/>
                  </a:lnTo>
                  <a:lnTo>
                    <a:pt x="204331" y="2365"/>
                  </a:lnTo>
                  <a:lnTo>
                    <a:pt x="213974" y="8282"/>
                  </a:lnTo>
                  <a:lnTo>
                    <a:pt x="223174" y="12177"/>
                  </a:lnTo>
                  <a:lnTo>
                    <a:pt x="237844" y="16092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Freeform 171"/>
            <p:cNvSpPr>
              <a:spLocks noChangeAspect="1"/>
            </p:cNvSpPr>
            <p:nvPr>
              <p:custDataLst>
                <p:tags r:id="rId170"/>
              </p:custDataLst>
            </p:nvPr>
          </p:nvSpPr>
          <p:spPr>
            <a:xfrm>
              <a:off x="4943852" y="4888762"/>
              <a:ext cx="175098" cy="161790"/>
            </a:xfrm>
            <a:custGeom>
              <a:avLst/>
              <a:gdLst/>
              <a:ahLst/>
              <a:cxnLst/>
              <a:rect l="0" t="0" r="0" b="0"/>
              <a:pathLst>
                <a:path w="175098" h="161790">
                  <a:moveTo>
                    <a:pt x="136816" y="161301"/>
                  </a:moveTo>
                  <a:lnTo>
                    <a:pt x="124546" y="158879"/>
                  </a:lnTo>
                  <a:lnTo>
                    <a:pt x="116768" y="161789"/>
                  </a:lnTo>
                  <a:lnTo>
                    <a:pt x="105599" y="157683"/>
                  </a:lnTo>
                  <a:lnTo>
                    <a:pt x="96208" y="157419"/>
                  </a:lnTo>
                  <a:lnTo>
                    <a:pt x="81492" y="146483"/>
                  </a:lnTo>
                  <a:lnTo>
                    <a:pt x="63643" y="142774"/>
                  </a:lnTo>
                  <a:lnTo>
                    <a:pt x="56853" y="127472"/>
                  </a:lnTo>
                  <a:lnTo>
                    <a:pt x="56796" y="118978"/>
                  </a:lnTo>
                  <a:lnTo>
                    <a:pt x="46911" y="116391"/>
                  </a:lnTo>
                  <a:lnTo>
                    <a:pt x="20788" y="90031"/>
                  </a:lnTo>
                  <a:lnTo>
                    <a:pt x="13531" y="76189"/>
                  </a:lnTo>
                  <a:lnTo>
                    <a:pt x="8886" y="71928"/>
                  </a:lnTo>
                  <a:lnTo>
                    <a:pt x="0" y="52865"/>
                  </a:lnTo>
                  <a:lnTo>
                    <a:pt x="25800" y="55473"/>
                  </a:lnTo>
                  <a:lnTo>
                    <a:pt x="33298" y="58217"/>
                  </a:lnTo>
                  <a:lnTo>
                    <a:pt x="41092" y="57664"/>
                  </a:lnTo>
                  <a:lnTo>
                    <a:pt x="53876" y="42262"/>
                  </a:lnTo>
                  <a:lnTo>
                    <a:pt x="73950" y="22738"/>
                  </a:lnTo>
                  <a:lnTo>
                    <a:pt x="82213" y="20874"/>
                  </a:lnTo>
                  <a:lnTo>
                    <a:pt x="85019" y="12661"/>
                  </a:lnTo>
                  <a:lnTo>
                    <a:pt x="98162" y="3236"/>
                  </a:lnTo>
                  <a:lnTo>
                    <a:pt x="115645" y="0"/>
                  </a:lnTo>
                  <a:lnTo>
                    <a:pt x="117139" y="8822"/>
                  </a:lnTo>
                  <a:lnTo>
                    <a:pt x="136392" y="8351"/>
                  </a:lnTo>
                  <a:lnTo>
                    <a:pt x="147090" y="13347"/>
                  </a:lnTo>
                  <a:lnTo>
                    <a:pt x="152065" y="19207"/>
                  </a:lnTo>
                  <a:lnTo>
                    <a:pt x="163057" y="20929"/>
                  </a:lnTo>
                  <a:lnTo>
                    <a:pt x="175046" y="28549"/>
                  </a:lnTo>
                  <a:lnTo>
                    <a:pt x="175097" y="58642"/>
                  </a:lnTo>
                  <a:lnTo>
                    <a:pt x="170597" y="75178"/>
                  </a:lnTo>
                  <a:lnTo>
                    <a:pt x="169606" y="93056"/>
                  </a:lnTo>
                  <a:lnTo>
                    <a:pt x="173316" y="100156"/>
                  </a:lnTo>
                  <a:lnTo>
                    <a:pt x="170709" y="114293"/>
                  </a:lnTo>
                  <a:lnTo>
                    <a:pt x="167222" y="116482"/>
                  </a:lnTo>
                  <a:lnTo>
                    <a:pt x="161135" y="133853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Freeform 172"/>
            <p:cNvSpPr>
              <a:spLocks noChangeAspect="1"/>
            </p:cNvSpPr>
            <p:nvPr>
              <p:custDataLst>
                <p:tags r:id="rId171"/>
              </p:custDataLst>
            </p:nvPr>
          </p:nvSpPr>
          <p:spPr>
            <a:xfrm>
              <a:off x="8452900" y="4900899"/>
              <a:ext cx="67439" cy="53871"/>
            </a:xfrm>
            <a:custGeom>
              <a:avLst/>
              <a:gdLst/>
              <a:ahLst/>
              <a:cxnLst/>
              <a:rect l="l" t="t" r="r" b="b"/>
              <a:pathLst>
                <a:path w="67439" h="53871">
                  <a:moveTo>
                    <a:pt x="25127" y="31292"/>
                  </a:moveTo>
                  <a:lnTo>
                    <a:pt x="33077" y="38156"/>
                  </a:lnTo>
                  <a:lnTo>
                    <a:pt x="29261" y="50594"/>
                  </a:lnTo>
                  <a:lnTo>
                    <a:pt x="14948" y="53871"/>
                  </a:lnTo>
                  <a:lnTo>
                    <a:pt x="2225" y="50921"/>
                  </a:lnTo>
                  <a:lnTo>
                    <a:pt x="0" y="40446"/>
                  </a:lnTo>
                  <a:lnTo>
                    <a:pt x="8905" y="32272"/>
                  </a:lnTo>
                  <a:lnTo>
                    <a:pt x="19401" y="35214"/>
                  </a:lnTo>
                  <a:close/>
                  <a:moveTo>
                    <a:pt x="67439" y="0"/>
                  </a:moveTo>
                  <a:lnTo>
                    <a:pt x="62669" y="12660"/>
                  </a:lnTo>
                  <a:lnTo>
                    <a:pt x="47991" y="18499"/>
                  </a:lnTo>
                  <a:lnTo>
                    <a:pt x="33239" y="23501"/>
                  </a:lnTo>
                  <a:lnTo>
                    <a:pt x="30279" y="14650"/>
                  </a:lnTo>
                  <a:lnTo>
                    <a:pt x="41816" y="9785"/>
                  </a:lnTo>
                  <a:lnTo>
                    <a:pt x="49131" y="8484"/>
                  </a:lnTo>
                  <a:lnTo>
                    <a:pt x="62669" y="1094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 173"/>
            <p:cNvSpPr>
              <a:spLocks noChangeAspect="1"/>
            </p:cNvSpPr>
            <p:nvPr>
              <p:custDataLst>
                <p:tags r:id="rId172"/>
              </p:custDataLst>
            </p:nvPr>
          </p:nvSpPr>
          <p:spPr>
            <a:xfrm>
              <a:off x="3102109" y="4394951"/>
              <a:ext cx="66177" cy="85615"/>
            </a:xfrm>
            <a:custGeom>
              <a:avLst/>
              <a:gdLst>
                <a:gd name="connsiteX0" fmla="*/ 13081 w 66177"/>
                <a:gd name="connsiteY0" fmla="*/ 0 h 85615"/>
                <a:gd name="connsiteX1" fmla="*/ 20920 w 66177"/>
                <a:gd name="connsiteY1" fmla="*/ 2547 h 85615"/>
                <a:gd name="connsiteX2" fmla="*/ 37916 w 66177"/>
                <a:gd name="connsiteY2" fmla="*/ 8027 h 85615"/>
                <a:gd name="connsiteX3" fmla="*/ 62356 w 66177"/>
                <a:gd name="connsiteY3" fmla="*/ 27558 h 85615"/>
                <a:gd name="connsiteX4" fmla="*/ 66177 w 66177"/>
                <a:gd name="connsiteY4" fmla="*/ 37029 h 85615"/>
                <a:gd name="connsiteX5" fmla="*/ 52523 w 66177"/>
                <a:gd name="connsiteY5" fmla="*/ 58181 h 85615"/>
                <a:gd name="connsiteX6" fmla="*/ 45435 w 66177"/>
                <a:gd name="connsiteY6" fmla="*/ 75192 h 85615"/>
                <a:gd name="connsiteX7" fmla="*/ 36589 w 66177"/>
                <a:gd name="connsiteY7" fmla="*/ 83965 h 85615"/>
                <a:gd name="connsiteX8" fmla="*/ 25536 w 66177"/>
                <a:gd name="connsiteY8" fmla="*/ 85615 h 85615"/>
                <a:gd name="connsiteX9" fmla="*/ 22388 w 66177"/>
                <a:gd name="connsiteY9" fmla="*/ 79114 h 85615"/>
                <a:gd name="connsiteX10" fmla="*/ 17225 w 66177"/>
                <a:gd name="connsiteY10" fmla="*/ 78149 h 85615"/>
                <a:gd name="connsiteX11" fmla="*/ 10080 w 66177"/>
                <a:gd name="connsiteY11" fmla="*/ 84411 h 85615"/>
                <a:gd name="connsiteX12" fmla="*/ 0 w 66177"/>
                <a:gd name="connsiteY12" fmla="*/ 79647 h 85615"/>
                <a:gd name="connsiteX13" fmla="*/ 5852 w 66177"/>
                <a:gd name="connsiteY13" fmla="*/ 69787 h 85615"/>
                <a:gd name="connsiteX14" fmla="*/ 7859 w 66177"/>
                <a:gd name="connsiteY14" fmla="*/ 59265 h 85615"/>
                <a:gd name="connsiteX15" fmla="*/ 11847 w 66177"/>
                <a:gd name="connsiteY15" fmla="*/ 49365 h 85615"/>
                <a:gd name="connsiteX16" fmla="*/ 2890 w 66177"/>
                <a:gd name="connsiteY16" fmla="*/ 35725 h 85615"/>
                <a:gd name="connsiteX17" fmla="*/ 1065 w 66177"/>
                <a:gd name="connsiteY17" fmla="*/ 19901 h 8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177" h="85615">
                  <a:moveTo>
                    <a:pt x="13081" y="0"/>
                  </a:moveTo>
                  <a:lnTo>
                    <a:pt x="20920" y="2547"/>
                  </a:lnTo>
                  <a:lnTo>
                    <a:pt x="37916" y="8027"/>
                  </a:lnTo>
                  <a:lnTo>
                    <a:pt x="62356" y="27558"/>
                  </a:lnTo>
                  <a:lnTo>
                    <a:pt x="66177" y="37029"/>
                  </a:lnTo>
                  <a:lnTo>
                    <a:pt x="52523" y="58181"/>
                  </a:lnTo>
                  <a:lnTo>
                    <a:pt x="45435" y="75192"/>
                  </a:lnTo>
                  <a:lnTo>
                    <a:pt x="36589" y="83965"/>
                  </a:lnTo>
                  <a:lnTo>
                    <a:pt x="25536" y="85615"/>
                  </a:lnTo>
                  <a:lnTo>
                    <a:pt x="22388" y="79114"/>
                  </a:lnTo>
                  <a:lnTo>
                    <a:pt x="17225" y="78149"/>
                  </a:lnTo>
                  <a:lnTo>
                    <a:pt x="10080" y="84411"/>
                  </a:lnTo>
                  <a:lnTo>
                    <a:pt x="0" y="79647"/>
                  </a:lnTo>
                  <a:lnTo>
                    <a:pt x="5852" y="69787"/>
                  </a:lnTo>
                  <a:lnTo>
                    <a:pt x="7859" y="59265"/>
                  </a:lnTo>
                  <a:lnTo>
                    <a:pt x="11847" y="49365"/>
                  </a:lnTo>
                  <a:lnTo>
                    <a:pt x="2890" y="35725"/>
                  </a:lnTo>
                  <a:lnTo>
                    <a:pt x="1065" y="1990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Freeform 174"/>
            <p:cNvSpPr>
              <a:spLocks noChangeAspect="1"/>
            </p:cNvSpPr>
            <p:nvPr>
              <p:custDataLst>
                <p:tags r:id="rId173"/>
              </p:custDataLst>
            </p:nvPr>
          </p:nvSpPr>
          <p:spPr>
            <a:xfrm>
              <a:off x="2948028" y="5822557"/>
              <a:ext cx="79635" cy="36905"/>
            </a:xfrm>
            <a:custGeom>
              <a:avLst/>
              <a:gdLst>
                <a:gd name="connsiteX0" fmla="*/ 61169 w 79635"/>
                <a:gd name="connsiteY0" fmla="*/ 0 h 36905"/>
                <a:gd name="connsiteX1" fmla="*/ 79635 w 79635"/>
                <a:gd name="connsiteY1" fmla="*/ 13776 h 36905"/>
                <a:gd name="connsiteX2" fmla="*/ 72710 w 79635"/>
                <a:gd name="connsiteY2" fmla="*/ 24543 h 36905"/>
                <a:gd name="connsiteX3" fmla="*/ 41548 w 79635"/>
                <a:gd name="connsiteY3" fmla="*/ 33809 h 36905"/>
                <a:gd name="connsiteX4" fmla="*/ 31161 w 79635"/>
                <a:gd name="connsiteY4" fmla="*/ 23002 h 36905"/>
                <a:gd name="connsiteX5" fmla="*/ 11541 w 79635"/>
                <a:gd name="connsiteY5" fmla="*/ 36905 h 36905"/>
                <a:gd name="connsiteX6" fmla="*/ 0 w 79635"/>
                <a:gd name="connsiteY6" fmla="*/ 23002 h 36905"/>
                <a:gd name="connsiteX7" fmla="*/ 27699 w 79635"/>
                <a:gd name="connsiteY7" fmla="*/ 4584 h 36905"/>
                <a:gd name="connsiteX8" fmla="*/ 47319 w 79635"/>
                <a:gd name="connsiteY8" fmla="*/ 12241 h 3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635" h="36905">
                  <a:moveTo>
                    <a:pt x="61169" y="0"/>
                  </a:moveTo>
                  <a:lnTo>
                    <a:pt x="79635" y="13776"/>
                  </a:lnTo>
                  <a:lnTo>
                    <a:pt x="72710" y="24543"/>
                  </a:lnTo>
                  <a:lnTo>
                    <a:pt x="41548" y="33809"/>
                  </a:lnTo>
                  <a:lnTo>
                    <a:pt x="31161" y="23002"/>
                  </a:lnTo>
                  <a:lnTo>
                    <a:pt x="11541" y="36905"/>
                  </a:lnTo>
                  <a:lnTo>
                    <a:pt x="0" y="23002"/>
                  </a:lnTo>
                  <a:lnTo>
                    <a:pt x="27699" y="4584"/>
                  </a:lnTo>
                  <a:lnTo>
                    <a:pt x="47319" y="12241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Freeform 175"/>
            <p:cNvSpPr>
              <a:spLocks noChangeAspect="1"/>
            </p:cNvSpPr>
            <p:nvPr>
              <p:custDataLst>
                <p:tags r:id="rId174"/>
              </p:custDataLst>
            </p:nvPr>
          </p:nvSpPr>
          <p:spPr>
            <a:xfrm>
              <a:off x="2668795" y="1901766"/>
              <a:ext cx="1410084" cy="1042076"/>
            </a:xfrm>
            <a:custGeom>
              <a:avLst/>
              <a:gdLst>
                <a:gd name="connsiteX0" fmla="*/ 881969 w 1410084"/>
                <a:gd name="connsiteY0" fmla="*/ 0 h 1042076"/>
                <a:gd name="connsiteX1" fmla="*/ 1066339 w 1410084"/>
                <a:gd name="connsiteY1" fmla="*/ 7371 h 1042076"/>
                <a:gd name="connsiteX2" fmla="*/ 1210723 w 1410084"/>
                <a:gd name="connsiteY2" fmla="*/ 53274 h 1042076"/>
                <a:gd name="connsiteX3" fmla="*/ 1168102 w 1410084"/>
                <a:gd name="connsiteY3" fmla="*/ 75149 h 1042076"/>
                <a:gd name="connsiteX4" fmla="*/ 1079795 w 1410084"/>
                <a:gd name="connsiteY4" fmla="*/ 77632 h 1042076"/>
                <a:gd name="connsiteX5" fmla="*/ 955553 w 1410084"/>
                <a:gd name="connsiteY5" fmla="*/ 83131 h 1042076"/>
                <a:gd name="connsiteX6" fmla="*/ 967176 w 1410084"/>
                <a:gd name="connsiteY6" fmla="*/ 93137 h 1042076"/>
                <a:gd name="connsiteX7" fmla="*/ 1048884 w 1410084"/>
                <a:gd name="connsiteY7" fmla="*/ 86962 h 1042076"/>
                <a:gd name="connsiteX8" fmla="*/ 1118414 w 1410084"/>
                <a:gd name="connsiteY8" fmla="*/ 106205 h 1042076"/>
                <a:gd name="connsiteX9" fmla="*/ 1163222 w 1410084"/>
                <a:gd name="connsiteY9" fmla="*/ 89127 h 1042076"/>
                <a:gd name="connsiteX10" fmla="*/ 1182415 w 1410084"/>
                <a:gd name="connsiteY10" fmla="*/ 109116 h 1042076"/>
                <a:gd name="connsiteX11" fmla="*/ 1157074 w 1410084"/>
                <a:gd name="connsiteY11" fmla="*/ 141078 h 1042076"/>
                <a:gd name="connsiteX12" fmla="*/ 1215842 w 1410084"/>
                <a:gd name="connsiteY12" fmla="*/ 120711 h 1042076"/>
                <a:gd name="connsiteX13" fmla="*/ 1327919 w 1410084"/>
                <a:gd name="connsiteY13" fmla="*/ 99226 h 1042076"/>
                <a:gd name="connsiteX14" fmla="*/ 1397121 w 1410084"/>
                <a:gd name="connsiteY14" fmla="*/ 109983 h 1042076"/>
                <a:gd name="connsiteX15" fmla="*/ 1410084 w 1410084"/>
                <a:gd name="connsiteY15" fmla="*/ 133502 h 1042076"/>
                <a:gd name="connsiteX16" fmla="*/ 1315981 w 1410084"/>
                <a:gd name="connsiteY16" fmla="*/ 172003 h 1042076"/>
                <a:gd name="connsiteX17" fmla="*/ 1302947 w 1410084"/>
                <a:gd name="connsiteY17" fmla="*/ 184279 h 1042076"/>
                <a:gd name="connsiteX18" fmla="*/ 1229170 w 1410084"/>
                <a:gd name="connsiteY18" fmla="*/ 193454 h 1042076"/>
                <a:gd name="connsiteX19" fmla="*/ 1282626 w 1410084"/>
                <a:gd name="connsiteY19" fmla="*/ 195990 h 1042076"/>
                <a:gd name="connsiteX20" fmla="*/ 1255628 w 1410084"/>
                <a:gd name="connsiteY20" fmla="*/ 234127 h 1042076"/>
                <a:gd name="connsiteX21" fmla="*/ 1237047 w 1410084"/>
                <a:gd name="connsiteY21" fmla="*/ 267409 h 1042076"/>
                <a:gd name="connsiteX22" fmla="*/ 1237773 w 1410084"/>
                <a:gd name="connsiteY22" fmla="*/ 323141 h 1042076"/>
                <a:gd name="connsiteX23" fmla="*/ 1265487 w 1410084"/>
                <a:gd name="connsiteY23" fmla="*/ 355088 h 1042076"/>
                <a:gd name="connsiteX24" fmla="*/ 1229428 w 1410084"/>
                <a:gd name="connsiteY24" fmla="*/ 357091 h 1042076"/>
                <a:gd name="connsiteX25" fmla="*/ 1191471 w 1410084"/>
                <a:gd name="connsiteY25" fmla="*/ 372362 h 1042076"/>
                <a:gd name="connsiteX26" fmla="*/ 1234067 w 1410084"/>
                <a:gd name="connsiteY26" fmla="*/ 397662 h 1042076"/>
                <a:gd name="connsiteX27" fmla="*/ 1239494 w 1410084"/>
                <a:gd name="connsiteY27" fmla="*/ 437542 h 1042076"/>
                <a:gd name="connsiteX28" fmla="*/ 1214813 w 1410084"/>
                <a:gd name="connsiteY28" fmla="*/ 441834 h 1042076"/>
                <a:gd name="connsiteX29" fmla="*/ 1244714 w 1410084"/>
                <a:gd name="connsiteY29" fmla="*/ 481288 h 1042076"/>
                <a:gd name="connsiteX30" fmla="*/ 1193438 w 1410084"/>
                <a:gd name="connsiteY30" fmla="*/ 484544 h 1042076"/>
                <a:gd name="connsiteX31" fmla="*/ 1220207 w 1410084"/>
                <a:gd name="connsiteY31" fmla="*/ 502886 h 1042076"/>
                <a:gd name="connsiteX32" fmla="*/ 1212640 w 1410084"/>
                <a:gd name="connsiteY32" fmla="*/ 518656 h 1042076"/>
                <a:gd name="connsiteX33" fmla="*/ 1180097 w 1410084"/>
                <a:gd name="connsiteY33" fmla="*/ 525537 h 1042076"/>
                <a:gd name="connsiteX34" fmla="*/ 1147926 w 1410084"/>
                <a:gd name="connsiteY34" fmla="*/ 525666 h 1042076"/>
                <a:gd name="connsiteX35" fmla="*/ 1176844 w 1410084"/>
                <a:gd name="connsiteY35" fmla="*/ 555484 h 1042076"/>
                <a:gd name="connsiteX36" fmla="*/ 1177157 w 1410084"/>
                <a:gd name="connsiteY36" fmla="*/ 574836 h 1042076"/>
                <a:gd name="connsiteX37" fmla="*/ 1131481 w 1410084"/>
                <a:gd name="connsiteY37" fmla="*/ 556856 h 1042076"/>
                <a:gd name="connsiteX38" fmla="*/ 1119603 w 1410084"/>
                <a:gd name="connsiteY38" fmla="*/ 568506 h 1042076"/>
                <a:gd name="connsiteX39" fmla="*/ 1150764 w 1410084"/>
                <a:gd name="connsiteY39" fmla="*/ 579326 h 1042076"/>
                <a:gd name="connsiteX40" fmla="*/ 1181006 w 1410084"/>
                <a:gd name="connsiteY40" fmla="*/ 605526 h 1042076"/>
                <a:gd name="connsiteX41" fmla="*/ 1189760 w 1410084"/>
                <a:gd name="connsiteY41" fmla="*/ 639522 h 1042076"/>
                <a:gd name="connsiteX42" fmla="*/ 1148616 w 1410084"/>
                <a:gd name="connsiteY42" fmla="*/ 647571 h 1042076"/>
                <a:gd name="connsiteX43" fmla="*/ 1130819 w 1410084"/>
                <a:gd name="connsiteY43" fmla="*/ 631436 h 1042076"/>
                <a:gd name="connsiteX44" fmla="*/ 1102280 w 1410084"/>
                <a:gd name="connsiteY44" fmla="*/ 607145 h 1042076"/>
                <a:gd name="connsiteX45" fmla="*/ 1110176 w 1410084"/>
                <a:gd name="connsiteY45" fmla="*/ 635811 h 1042076"/>
                <a:gd name="connsiteX46" fmla="*/ 1083367 w 1410084"/>
                <a:gd name="connsiteY46" fmla="*/ 657738 h 1042076"/>
                <a:gd name="connsiteX47" fmla="*/ 1144198 w 1410084"/>
                <a:gd name="connsiteY47" fmla="*/ 659498 h 1042076"/>
                <a:gd name="connsiteX48" fmla="*/ 1176015 w 1410084"/>
                <a:gd name="connsiteY48" fmla="*/ 661757 h 1042076"/>
                <a:gd name="connsiteX49" fmla="*/ 1114148 w 1410084"/>
                <a:gd name="connsiteY49" fmla="*/ 697473 h 1042076"/>
                <a:gd name="connsiteX50" fmla="*/ 1051407 w 1410084"/>
                <a:gd name="connsiteY50" fmla="*/ 729271 h 1042076"/>
                <a:gd name="connsiteX51" fmla="*/ 983859 w 1410084"/>
                <a:gd name="connsiteY51" fmla="*/ 743049 h 1042076"/>
                <a:gd name="connsiteX52" fmla="*/ 958400 w 1410084"/>
                <a:gd name="connsiteY52" fmla="*/ 743218 h 1042076"/>
                <a:gd name="connsiteX53" fmla="*/ 934524 w 1410084"/>
                <a:gd name="connsiteY53" fmla="*/ 758475 h 1042076"/>
                <a:gd name="connsiteX54" fmla="*/ 902418 w 1410084"/>
                <a:gd name="connsiteY54" fmla="*/ 799705 h 1042076"/>
                <a:gd name="connsiteX55" fmla="*/ 852770 w 1410084"/>
                <a:gd name="connsiteY55" fmla="*/ 826626 h 1042076"/>
                <a:gd name="connsiteX56" fmla="*/ 836821 w 1410084"/>
                <a:gd name="connsiteY56" fmla="*/ 828198 h 1042076"/>
                <a:gd name="connsiteX57" fmla="*/ 806092 w 1410084"/>
                <a:gd name="connsiteY57" fmla="*/ 837541 h 1042076"/>
                <a:gd name="connsiteX58" fmla="*/ 772918 w 1410084"/>
                <a:gd name="connsiteY58" fmla="*/ 846392 h 1042076"/>
                <a:gd name="connsiteX59" fmla="*/ 753141 w 1410084"/>
                <a:gd name="connsiteY59" fmla="*/ 869644 h 1042076"/>
                <a:gd name="connsiteX60" fmla="*/ 752822 w 1410084"/>
                <a:gd name="connsiteY60" fmla="*/ 895688 h 1042076"/>
                <a:gd name="connsiteX61" fmla="*/ 741145 w 1410084"/>
                <a:gd name="connsiteY61" fmla="*/ 919795 h 1042076"/>
                <a:gd name="connsiteX62" fmla="*/ 703505 w 1410084"/>
                <a:gd name="connsiteY62" fmla="*/ 948811 h 1042076"/>
                <a:gd name="connsiteX63" fmla="*/ 712800 w 1410084"/>
                <a:gd name="connsiteY63" fmla="*/ 976775 h 1042076"/>
                <a:gd name="connsiteX64" fmla="*/ 702424 w 1410084"/>
                <a:gd name="connsiteY64" fmla="*/ 1005980 h 1042076"/>
                <a:gd name="connsiteX65" fmla="*/ 690601 w 1410084"/>
                <a:gd name="connsiteY65" fmla="*/ 1039971 h 1042076"/>
                <a:gd name="connsiteX66" fmla="*/ 658075 w 1410084"/>
                <a:gd name="connsiteY66" fmla="*/ 1042076 h 1042076"/>
                <a:gd name="connsiteX67" fmla="*/ 624002 w 1410084"/>
                <a:gd name="connsiteY67" fmla="*/ 1013712 h 1042076"/>
                <a:gd name="connsiteX68" fmla="*/ 577853 w 1410084"/>
                <a:gd name="connsiteY68" fmla="*/ 1013532 h 1042076"/>
                <a:gd name="connsiteX69" fmla="*/ 555459 w 1410084"/>
                <a:gd name="connsiteY69" fmla="*/ 994274 h 1042076"/>
                <a:gd name="connsiteX70" fmla="*/ 540056 w 1410084"/>
                <a:gd name="connsiteY70" fmla="*/ 959553 h 1042076"/>
                <a:gd name="connsiteX71" fmla="*/ 500057 w 1410084"/>
                <a:gd name="connsiteY71" fmla="*/ 914515 h 1042076"/>
                <a:gd name="connsiteX72" fmla="*/ 488356 w 1410084"/>
                <a:gd name="connsiteY72" fmla="*/ 890534 h 1042076"/>
                <a:gd name="connsiteX73" fmla="*/ 485207 w 1410084"/>
                <a:gd name="connsiteY73" fmla="*/ 857018 h 1042076"/>
                <a:gd name="connsiteX74" fmla="*/ 453236 w 1410084"/>
                <a:gd name="connsiteY74" fmla="*/ 822015 h 1042076"/>
                <a:gd name="connsiteX75" fmla="*/ 461547 w 1410084"/>
                <a:gd name="connsiteY75" fmla="*/ 793635 h 1042076"/>
                <a:gd name="connsiteX76" fmla="*/ 446139 w 1410084"/>
                <a:gd name="connsiteY76" fmla="*/ 779920 h 1042076"/>
                <a:gd name="connsiteX77" fmla="*/ 468961 w 1410084"/>
                <a:gd name="connsiteY77" fmla="*/ 733784 h 1042076"/>
                <a:gd name="connsiteX78" fmla="*/ 503701 w 1410084"/>
                <a:gd name="connsiteY78" fmla="*/ 718874 h 1042076"/>
                <a:gd name="connsiteX79" fmla="*/ 512818 w 1410084"/>
                <a:gd name="connsiteY79" fmla="*/ 701980 h 1042076"/>
                <a:gd name="connsiteX80" fmla="*/ 517647 w 1410084"/>
                <a:gd name="connsiteY80" fmla="*/ 670033 h 1042076"/>
                <a:gd name="connsiteX81" fmla="*/ 491278 w 1410084"/>
                <a:gd name="connsiteY81" fmla="*/ 684578 h 1042076"/>
                <a:gd name="connsiteX82" fmla="*/ 478713 w 1410084"/>
                <a:gd name="connsiteY82" fmla="*/ 690656 h 1042076"/>
                <a:gd name="connsiteX83" fmla="*/ 457976 w 1410084"/>
                <a:gd name="connsiteY83" fmla="*/ 696463 h 1042076"/>
                <a:gd name="connsiteX84" fmla="*/ 429652 w 1410084"/>
                <a:gd name="connsiteY84" fmla="*/ 683141 h 1042076"/>
                <a:gd name="connsiteX85" fmla="*/ 428114 w 1410084"/>
                <a:gd name="connsiteY85" fmla="*/ 655130 h 1042076"/>
                <a:gd name="connsiteX86" fmla="*/ 437143 w 1410084"/>
                <a:gd name="connsiteY86" fmla="*/ 632914 h 1042076"/>
                <a:gd name="connsiteX87" fmla="*/ 458553 w 1410084"/>
                <a:gd name="connsiteY87" fmla="*/ 632307 h 1042076"/>
                <a:gd name="connsiteX88" fmla="*/ 505669 w 1410084"/>
                <a:gd name="connsiteY88" fmla="*/ 643449 h 1042076"/>
                <a:gd name="connsiteX89" fmla="*/ 465984 w 1410084"/>
                <a:gd name="connsiteY89" fmla="*/ 616741 h 1042076"/>
                <a:gd name="connsiteX90" fmla="*/ 445329 w 1410084"/>
                <a:gd name="connsiteY90" fmla="*/ 602193 h 1042076"/>
                <a:gd name="connsiteX91" fmla="*/ 422343 w 1410084"/>
                <a:gd name="connsiteY91" fmla="*/ 608183 h 1042076"/>
                <a:gd name="connsiteX92" fmla="*/ 403077 w 1410084"/>
                <a:gd name="connsiteY92" fmla="*/ 597612 h 1042076"/>
                <a:gd name="connsiteX93" fmla="*/ 428848 w 1410084"/>
                <a:gd name="connsiteY93" fmla="*/ 557363 h 1042076"/>
                <a:gd name="connsiteX94" fmla="*/ 414811 w 1410084"/>
                <a:gd name="connsiteY94" fmla="*/ 541044 h 1042076"/>
                <a:gd name="connsiteX95" fmla="*/ 396490 w 1410084"/>
                <a:gd name="connsiteY95" fmla="*/ 510384 h 1042076"/>
                <a:gd name="connsiteX96" fmla="*/ 368708 w 1410084"/>
                <a:gd name="connsiteY96" fmla="*/ 462372 h 1042076"/>
                <a:gd name="connsiteX97" fmla="*/ 339320 w 1410084"/>
                <a:gd name="connsiteY97" fmla="*/ 444485 h 1042076"/>
                <a:gd name="connsiteX98" fmla="*/ 339588 w 1410084"/>
                <a:gd name="connsiteY98" fmla="*/ 425012 h 1042076"/>
                <a:gd name="connsiteX99" fmla="*/ 277647 w 1410084"/>
                <a:gd name="connsiteY99" fmla="*/ 397458 h 1042076"/>
                <a:gd name="connsiteX100" fmla="*/ 228642 w 1410084"/>
                <a:gd name="connsiteY100" fmla="*/ 394001 h 1042076"/>
                <a:gd name="connsiteX101" fmla="*/ 166950 w 1410084"/>
                <a:gd name="connsiteY101" fmla="*/ 395917 h 1042076"/>
                <a:gd name="connsiteX102" fmla="*/ 110626 w 1410084"/>
                <a:gd name="connsiteY102" fmla="*/ 399401 h 1042076"/>
                <a:gd name="connsiteX103" fmla="*/ 83839 w 1410084"/>
                <a:gd name="connsiteY103" fmla="*/ 384255 h 1042076"/>
                <a:gd name="connsiteX104" fmla="*/ 43728 w 1410084"/>
                <a:gd name="connsiteY104" fmla="*/ 353976 h 1042076"/>
                <a:gd name="connsiteX105" fmla="*/ 104340 w 1410084"/>
                <a:gd name="connsiteY105" fmla="*/ 338644 h 1042076"/>
                <a:gd name="connsiteX106" fmla="*/ 150799 w 1410084"/>
                <a:gd name="connsiteY106" fmla="*/ 336057 h 1042076"/>
                <a:gd name="connsiteX107" fmla="*/ 52030 w 1410084"/>
                <a:gd name="connsiteY107" fmla="*/ 323272 h 1042076"/>
                <a:gd name="connsiteX108" fmla="*/ 0 w 1410084"/>
                <a:gd name="connsiteY108" fmla="*/ 303018 h 1042076"/>
                <a:gd name="connsiteX109" fmla="*/ 3176 w 1410084"/>
                <a:gd name="connsiteY109" fmla="*/ 283537 h 1042076"/>
                <a:gd name="connsiteX110" fmla="*/ 90566 w 1410084"/>
                <a:gd name="connsiteY110" fmla="*/ 259123 h 1042076"/>
                <a:gd name="connsiteX111" fmla="*/ 175112 w 1410084"/>
                <a:gd name="connsiteY111" fmla="*/ 234419 h 1042076"/>
                <a:gd name="connsiteX112" fmla="*/ 184040 w 1410084"/>
                <a:gd name="connsiteY112" fmla="*/ 215493 h 1042076"/>
                <a:gd name="connsiteX113" fmla="*/ 121738 w 1410084"/>
                <a:gd name="connsiteY113" fmla="*/ 196620 h 1042076"/>
                <a:gd name="connsiteX114" fmla="*/ 141859 w 1410084"/>
                <a:gd name="connsiteY114" fmla="*/ 175438 h 1042076"/>
                <a:gd name="connsiteX115" fmla="*/ 221772 w 1410084"/>
                <a:gd name="connsiteY115" fmla="*/ 137740 h 1042076"/>
                <a:gd name="connsiteX116" fmla="*/ 255353 w 1410084"/>
                <a:gd name="connsiteY116" fmla="*/ 131885 h 1042076"/>
                <a:gd name="connsiteX117" fmla="*/ 245734 w 1410084"/>
                <a:gd name="connsiteY117" fmla="*/ 107124 h 1042076"/>
                <a:gd name="connsiteX118" fmla="*/ 300409 w 1410084"/>
                <a:gd name="connsiteY118" fmla="*/ 92461 h 1042076"/>
                <a:gd name="connsiteX119" fmla="*/ 371390 w 1410084"/>
                <a:gd name="connsiteY119" fmla="*/ 83651 h 1042076"/>
                <a:gd name="connsiteX120" fmla="*/ 442323 w 1410084"/>
                <a:gd name="connsiteY120" fmla="*/ 83152 h 1042076"/>
                <a:gd name="connsiteX121" fmla="*/ 467509 w 1410084"/>
                <a:gd name="connsiteY121" fmla="*/ 100570 h 1042076"/>
                <a:gd name="connsiteX122" fmla="*/ 528740 w 1410084"/>
                <a:gd name="connsiteY122" fmla="*/ 69654 h 1042076"/>
                <a:gd name="connsiteX123" fmla="*/ 583833 w 1410084"/>
                <a:gd name="connsiteY123" fmla="*/ 90716 h 1042076"/>
                <a:gd name="connsiteX124" fmla="*/ 616241 w 1410084"/>
                <a:gd name="connsiteY124" fmla="*/ 95126 h 1042076"/>
                <a:gd name="connsiteX125" fmla="*/ 664180 w 1410084"/>
                <a:gd name="connsiteY125" fmla="*/ 113202 h 1042076"/>
                <a:gd name="connsiteX126" fmla="*/ 609297 w 1410084"/>
                <a:gd name="connsiteY126" fmla="*/ 83143 h 1042076"/>
                <a:gd name="connsiteX127" fmla="*/ 612457 w 1410084"/>
                <a:gd name="connsiteY127" fmla="*/ 58909 h 1042076"/>
                <a:gd name="connsiteX128" fmla="*/ 689954 w 1410084"/>
                <a:gd name="connsiteY128" fmla="*/ 24556 h 1042076"/>
                <a:gd name="connsiteX129" fmla="*/ 770949 w 1410084"/>
                <a:gd name="connsiteY129" fmla="*/ 27166 h 1042076"/>
                <a:gd name="connsiteX130" fmla="*/ 800388 w 1410084"/>
                <a:gd name="connsiteY130" fmla="*/ 5647 h 1042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410084" h="1042076">
                  <a:moveTo>
                    <a:pt x="881969" y="0"/>
                  </a:moveTo>
                  <a:lnTo>
                    <a:pt x="1066339" y="7371"/>
                  </a:lnTo>
                  <a:lnTo>
                    <a:pt x="1210723" y="53274"/>
                  </a:lnTo>
                  <a:lnTo>
                    <a:pt x="1168102" y="75149"/>
                  </a:lnTo>
                  <a:lnTo>
                    <a:pt x="1079795" y="77632"/>
                  </a:lnTo>
                  <a:lnTo>
                    <a:pt x="955553" y="83131"/>
                  </a:lnTo>
                  <a:lnTo>
                    <a:pt x="967176" y="93137"/>
                  </a:lnTo>
                  <a:lnTo>
                    <a:pt x="1048884" y="86962"/>
                  </a:lnTo>
                  <a:lnTo>
                    <a:pt x="1118414" y="106205"/>
                  </a:lnTo>
                  <a:lnTo>
                    <a:pt x="1163222" y="89127"/>
                  </a:lnTo>
                  <a:lnTo>
                    <a:pt x="1182415" y="109116"/>
                  </a:lnTo>
                  <a:lnTo>
                    <a:pt x="1157074" y="141078"/>
                  </a:lnTo>
                  <a:lnTo>
                    <a:pt x="1215842" y="120711"/>
                  </a:lnTo>
                  <a:lnTo>
                    <a:pt x="1327919" y="99226"/>
                  </a:lnTo>
                  <a:lnTo>
                    <a:pt x="1397121" y="109983"/>
                  </a:lnTo>
                  <a:lnTo>
                    <a:pt x="1410084" y="133502"/>
                  </a:lnTo>
                  <a:lnTo>
                    <a:pt x="1315981" y="172003"/>
                  </a:lnTo>
                  <a:lnTo>
                    <a:pt x="1302947" y="184279"/>
                  </a:lnTo>
                  <a:lnTo>
                    <a:pt x="1229170" y="193454"/>
                  </a:lnTo>
                  <a:lnTo>
                    <a:pt x="1282626" y="195990"/>
                  </a:lnTo>
                  <a:lnTo>
                    <a:pt x="1255628" y="234127"/>
                  </a:lnTo>
                  <a:lnTo>
                    <a:pt x="1237047" y="267409"/>
                  </a:lnTo>
                  <a:lnTo>
                    <a:pt x="1237773" y="323141"/>
                  </a:lnTo>
                  <a:lnTo>
                    <a:pt x="1265487" y="355088"/>
                  </a:lnTo>
                  <a:lnTo>
                    <a:pt x="1229428" y="357091"/>
                  </a:lnTo>
                  <a:lnTo>
                    <a:pt x="1191471" y="372362"/>
                  </a:lnTo>
                  <a:lnTo>
                    <a:pt x="1234067" y="397662"/>
                  </a:lnTo>
                  <a:lnTo>
                    <a:pt x="1239494" y="437542"/>
                  </a:lnTo>
                  <a:lnTo>
                    <a:pt x="1214813" y="441834"/>
                  </a:lnTo>
                  <a:lnTo>
                    <a:pt x="1244714" y="481288"/>
                  </a:lnTo>
                  <a:lnTo>
                    <a:pt x="1193438" y="484544"/>
                  </a:lnTo>
                  <a:lnTo>
                    <a:pt x="1220207" y="502886"/>
                  </a:lnTo>
                  <a:lnTo>
                    <a:pt x="1212640" y="518656"/>
                  </a:lnTo>
                  <a:lnTo>
                    <a:pt x="1180097" y="525537"/>
                  </a:lnTo>
                  <a:lnTo>
                    <a:pt x="1147926" y="525666"/>
                  </a:lnTo>
                  <a:lnTo>
                    <a:pt x="1176844" y="555484"/>
                  </a:lnTo>
                  <a:lnTo>
                    <a:pt x="1177157" y="574836"/>
                  </a:lnTo>
                  <a:lnTo>
                    <a:pt x="1131481" y="556856"/>
                  </a:lnTo>
                  <a:lnTo>
                    <a:pt x="1119603" y="568506"/>
                  </a:lnTo>
                  <a:lnTo>
                    <a:pt x="1150764" y="579326"/>
                  </a:lnTo>
                  <a:lnTo>
                    <a:pt x="1181006" y="605526"/>
                  </a:lnTo>
                  <a:lnTo>
                    <a:pt x="1189760" y="639522"/>
                  </a:lnTo>
                  <a:lnTo>
                    <a:pt x="1148616" y="647571"/>
                  </a:lnTo>
                  <a:lnTo>
                    <a:pt x="1130819" y="631436"/>
                  </a:lnTo>
                  <a:lnTo>
                    <a:pt x="1102280" y="607145"/>
                  </a:lnTo>
                  <a:lnTo>
                    <a:pt x="1110176" y="635811"/>
                  </a:lnTo>
                  <a:lnTo>
                    <a:pt x="1083367" y="657738"/>
                  </a:lnTo>
                  <a:lnTo>
                    <a:pt x="1144198" y="659498"/>
                  </a:lnTo>
                  <a:lnTo>
                    <a:pt x="1176015" y="661757"/>
                  </a:lnTo>
                  <a:lnTo>
                    <a:pt x="1114148" y="697473"/>
                  </a:lnTo>
                  <a:lnTo>
                    <a:pt x="1051407" y="729271"/>
                  </a:lnTo>
                  <a:lnTo>
                    <a:pt x="983859" y="743049"/>
                  </a:lnTo>
                  <a:lnTo>
                    <a:pt x="958400" y="743218"/>
                  </a:lnTo>
                  <a:lnTo>
                    <a:pt x="934524" y="758475"/>
                  </a:lnTo>
                  <a:lnTo>
                    <a:pt x="902418" y="799705"/>
                  </a:lnTo>
                  <a:lnTo>
                    <a:pt x="852770" y="826626"/>
                  </a:lnTo>
                  <a:lnTo>
                    <a:pt x="836821" y="828198"/>
                  </a:lnTo>
                  <a:lnTo>
                    <a:pt x="806092" y="837541"/>
                  </a:lnTo>
                  <a:lnTo>
                    <a:pt x="772918" y="846392"/>
                  </a:lnTo>
                  <a:lnTo>
                    <a:pt x="753141" y="869644"/>
                  </a:lnTo>
                  <a:lnTo>
                    <a:pt x="752822" y="895688"/>
                  </a:lnTo>
                  <a:lnTo>
                    <a:pt x="741145" y="919795"/>
                  </a:lnTo>
                  <a:lnTo>
                    <a:pt x="703505" y="948811"/>
                  </a:lnTo>
                  <a:lnTo>
                    <a:pt x="712800" y="976775"/>
                  </a:lnTo>
                  <a:lnTo>
                    <a:pt x="702424" y="1005980"/>
                  </a:lnTo>
                  <a:lnTo>
                    <a:pt x="690601" y="1039971"/>
                  </a:lnTo>
                  <a:lnTo>
                    <a:pt x="658075" y="1042076"/>
                  </a:lnTo>
                  <a:lnTo>
                    <a:pt x="624002" y="1013712"/>
                  </a:lnTo>
                  <a:lnTo>
                    <a:pt x="577853" y="1013532"/>
                  </a:lnTo>
                  <a:lnTo>
                    <a:pt x="555459" y="994274"/>
                  </a:lnTo>
                  <a:lnTo>
                    <a:pt x="540056" y="959553"/>
                  </a:lnTo>
                  <a:lnTo>
                    <a:pt x="500057" y="914515"/>
                  </a:lnTo>
                  <a:lnTo>
                    <a:pt x="488356" y="890534"/>
                  </a:lnTo>
                  <a:lnTo>
                    <a:pt x="485207" y="857018"/>
                  </a:lnTo>
                  <a:lnTo>
                    <a:pt x="453236" y="822015"/>
                  </a:lnTo>
                  <a:lnTo>
                    <a:pt x="461547" y="793635"/>
                  </a:lnTo>
                  <a:lnTo>
                    <a:pt x="446139" y="779920"/>
                  </a:lnTo>
                  <a:lnTo>
                    <a:pt x="468961" y="733784"/>
                  </a:lnTo>
                  <a:lnTo>
                    <a:pt x="503701" y="718874"/>
                  </a:lnTo>
                  <a:lnTo>
                    <a:pt x="512818" y="701980"/>
                  </a:lnTo>
                  <a:lnTo>
                    <a:pt x="517647" y="670033"/>
                  </a:lnTo>
                  <a:lnTo>
                    <a:pt x="491278" y="684578"/>
                  </a:lnTo>
                  <a:lnTo>
                    <a:pt x="478713" y="690656"/>
                  </a:lnTo>
                  <a:lnTo>
                    <a:pt x="457976" y="696463"/>
                  </a:lnTo>
                  <a:lnTo>
                    <a:pt x="429652" y="683141"/>
                  </a:lnTo>
                  <a:lnTo>
                    <a:pt x="428114" y="655130"/>
                  </a:lnTo>
                  <a:lnTo>
                    <a:pt x="437143" y="632914"/>
                  </a:lnTo>
                  <a:lnTo>
                    <a:pt x="458553" y="632307"/>
                  </a:lnTo>
                  <a:lnTo>
                    <a:pt x="505669" y="643449"/>
                  </a:lnTo>
                  <a:lnTo>
                    <a:pt x="465984" y="616741"/>
                  </a:lnTo>
                  <a:lnTo>
                    <a:pt x="445329" y="602193"/>
                  </a:lnTo>
                  <a:lnTo>
                    <a:pt x="422343" y="608183"/>
                  </a:lnTo>
                  <a:lnTo>
                    <a:pt x="403077" y="597612"/>
                  </a:lnTo>
                  <a:lnTo>
                    <a:pt x="428848" y="557363"/>
                  </a:lnTo>
                  <a:lnTo>
                    <a:pt x="414811" y="541044"/>
                  </a:lnTo>
                  <a:lnTo>
                    <a:pt x="396490" y="510384"/>
                  </a:lnTo>
                  <a:lnTo>
                    <a:pt x="368708" y="462372"/>
                  </a:lnTo>
                  <a:lnTo>
                    <a:pt x="339320" y="444485"/>
                  </a:lnTo>
                  <a:lnTo>
                    <a:pt x="339588" y="425012"/>
                  </a:lnTo>
                  <a:lnTo>
                    <a:pt x="277647" y="397458"/>
                  </a:lnTo>
                  <a:lnTo>
                    <a:pt x="228642" y="394001"/>
                  </a:lnTo>
                  <a:lnTo>
                    <a:pt x="166950" y="395917"/>
                  </a:lnTo>
                  <a:lnTo>
                    <a:pt x="110626" y="399401"/>
                  </a:lnTo>
                  <a:lnTo>
                    <a:pt x="83839" y="384255"/>
                  </a:lnTo>
                  <a:lnTo>
                    <a:pt x="43728" y="353976"/>
                  </a:lnTo>
                  <a:lnTo>
                    <a:pt x="104340" y="338644"/>
                  </a:lnTo>
                  <a:lnTo>
                    <a:pt x="150799" y="336057"/>
                  </a:lnTo>
                  <a:lnTo>
                    <a:pt x="52030" y="323272"/>
                  </a:lnTo>
                  <a:lnTo>
                    <a:pt x="0" y="303018"/>
                  </a:lnTo>
                  <a:lnTo>
                    <a:pt x="3176" y="283537"/>
                  </a:lnTo>
                  <a:lnTo>
                    <a:pt x="90566" y="259123"/>
                  </a:lnTo>
                  <a:lnTo>
                    <a:pt x="175112" y="234419"/>
                  </a:lnTo>
                  <a:lnTo>
                    <a:pt x="184040" y="215493"/>
                  </a:lnTo>
                  <a:lnTo>
                    <a:pt x="121738" y="196620"/>
                  </a:lnTo>
                  <a:lnTo>
                    <a:pt x="141859" y="175438"/>
                  </a:lnTo>
                  <a:lnTo>
                    <a:pt x="221772" y="137740"/>
                  </a:lnTo>
                  <a:lnTo>
                    <a:pt x="255353" y="131885"/>
                  </a:lnTo>
                  <a:lnTo>
                    <a:pt x="245734" y="107124"/>
                  </a:lnTo>
                  <a:lnTo>
                    <a:pt x="300409" y="92461"/>
                  </a:lnTo>
                  <a:lnTo>
                    <a:pt x="371390" y="83651"/>
                  </a:lnTo>
                  <a:lnTo>
                    <a:pt x="442323" y="83152"/>
                  </a:lnTo>
                  <a:lnTo>
                    <a:pt x="467509" y="100570"/>
                  </a:lnTo>
                  <a:lnTo>
                    <a:pt x="528740" y="69654"/>
                  </a:lnTo>
                  <a:lnTo>
                    <a:pt x="583833" y="90716"/>
                  </a:lnTo>
                  <a:lnTo>
                    <a:pt x="616241" y="95126"/>
                  </a:lnTo>
                  <a:lnTo>
                    <a:pt x="664180" y="113202"/>
                  </a:lnTo>
                  <a:lnTo>
                    <a:pt x="609297" y="83143"/>
                  </a:lnTo>
                  <a:lnTo>
                    <a:pt x="612457" y="58909"/>
                  </a:lnTo>
                  <a:lnTo>
                    <a:pt x="689954" y="24556"/>
                  </a:lnTo>
                  <a:lnTo>
                    <a:pt x="770949" y="27166"/>
                  </a:lnTo>
                  <a:lnTo>
                    <a:pt x="800388" y="5647"/>
                  </a:lnTo>
                  <a:close/>
                </a:path>
              </a:pathLst>
            </a:custGeom>
            <a:solidFill>
              <a:srgbClr val="D9DADB"/>
            </a:solidFill>
            <a:ln w="3175" cap="rnd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6" name="Gerade Verbindung 15"/>
          <p:cNvCxnSpPr/>
          <p:nvPr/>
        </p:nvCxnSpPr>
        <p:spPr>
          <a:xfrm>
            <a:off x="8439568" y="3671489"/>
            <a:ext cx="86409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9120336" y="3204140"/>
            <a:ext cx="1497235" cy="471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b="1"/>
              <a:t>Shanghai </a:t>
            </a:r>
          </a:p>
          <a:p>
            <a:r>
              <a:rPr lang="de-DE" sz="900" b="1" err="1"/>
              <a:t>Kunshan</a:t>
            </a:r>
            <a:r>
              <a:rPr lang="de-DE" sz="900" b="1"/>
              <a:t> </a:t>
            </a:r>
          </a:p>
          <a:p>
            <a:r>
              <a:rPr lang="de-DE" sz="1000" b="1" i="1" baseline="-25000"/>
              <a:t>China&lt;</a:t>
            </a:r>
            <a:endParaRPr lang="de-DE" sz="1000" b="1" baseline="-25000"/>
          </a:p>
        </p:txBody>
      </p:sp>
      <p:cxnSp>
        <p:nvCxnSpPr>
          <p:cNvPr id="19" name="Gerade Verbindung 18"/>
          <p:cNvCxnSpPr/>
          <p:nvPr/>
        </p:nvCxnSpPr>
        <p:spPr>
          <a:xfrm>
            <a:off x="7525437" y="4185412"/>
            <a:ext cx="169907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8976320" y="4156498"/>
            <a:ext cx="845588" cy="333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b="1"/>
              <a:t>Bangalore </a:t>
            </a:r>
          </a:p>
          <a:p>
            <a:r>
              <a:rPr lang="de-DE" sz="1000" b="1" i="1" baseline="-25000" err="1"/>
              <a:t>India</a:t>
            </a:r>
            <a:endParaRPr lang="de-DE" sz="1000" b="1" baseline="-25000"/>
          </a:p>
        </p:txBody>
      </p:sp>
      <p:sp>
        <p:nvSpPr>
          <p:cNvPr id="22" name="Textfeld 21"/>
          <p:cNvSpPr txBox="1"/>
          <p:nvPr/>
        </p:nvSpPr>
        <p:spPr>
          <a:xfrm>
            <a:off x="2259338" y="2910193"/>
            <a:ext cx="1043876" cy="6104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1"/>
              <a:t>Troy</a:t>
            </a:r>
          </a:p>
          <a:p>
            <a:r>
              <a:rPr lang="de-DE" sz="900" b="1" err="1"/>
              <a:t>Hillsboro</a:t>
            </a:r>
            <a:endParaRPr lang="de-DE" sz="900" b="1"/>
          </a:p>
          <a:p>
            <a:r>
              <a:rPr lang="de-DE" sz="900" b="1" err="1"/>
              <a:t>Hendersonville</a:t>
            </a:r>
            <a:r>
              <a:rPr lang="de-DE" sz="900" b="1"/>
              <a:t> </a:t>
            </a:r>
          </a:p>
          <a:p>
            <a:r>
              <a:rPr lang="de-DE" sz="1000" b="1" i="1" baseline="-25000"/>
              <a:t>USA</a:t>
            </a:r>
            <a:endParaRPr lang="de-DE" sz="1000" b="1" baseline="-25000"/>
          </a:p>
        </p:txBody>
      </p:sp>
      <p:cxnSp>
        <p:nvCxnSpPr>
          <p:cNvPr id="23" name="Gerade Verbindung 22"/>
          <p:cNvCxnSpPr/>
          <p:nvPr/>
        </p:nvCxnSpPr>
        <p:spPr>
          <a:xfrm>
            <a:off x="2835648" y="3453932"/>
            <a:ext cx="115212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087377" y="3873195"/>
            <a:ext cx="72008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2332795" y="3577425"/>
            <a:ext cx="877163" cy="3334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1"/>
              <a:t>Guadalajara</a:t>
            </a:r>
          </a:p>
          <a:p>
            <a:r>
              <a:rPr lang="de-DE" sz="1000" b="1" i="1" baseline="-25000"/>
              <a:t>Mexico</a:t>
            </a:r>
            <a:endParaRPr lang="de-DE" sz="1000" b="1" baseline="-25000"/>
          </a:p>
        </p:txBody>
      </p:sp>
      <p:cxnSp>
        <p:nvCxnSpPr>
          <p:cNvPr id="29" name="Gerade Verbindung 28"/>
          <p:cNvCxnSpPr/>
          <p:nvPr/>
        </p:nvCxnSpPr>
        <p:spPr>
          <a:xfrm>
            <a:off x="4983206" y="3130184"/>
            <a:ext cx="115212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4657860" y="1947451"/>
            <a:ext cx="1069524" cy="887422"/>
          </a:xfrm>
          <a:prstGeom prst="rect">
            <a:avLst/>
          </a:prstGeom>
          <a:solidFill>
            <a:schemeClr val="bg1">
              <a:alpha val="10000"/>
            </a:schemeClr>
          </a:solidFill>
        </p:spPr>
        <p:txBody>
          <a:bodyPr wrap="square" rtlCol="0" anchor="t">
            <a:spAutoFit/>
          </a:bodyPr>
          <a:lstStyle/>
          <a:p>
            <a:endParaRPr lang="de-DE" sz="900" b="1" dirty="0">
              <a:cs typeface="Arial"/>
            </a:endParaRPr>
          </a:p>
          <a:p>
            <a:r>
              <a:rPr lang="de-DE" sz="900" b="1" u="sng" dirty="0"/>
              <a:t>Munich</a:t>
            </a:r>
            <a:endParaRPr lang="de-DE" sz="900" b="1" u="sng" dirty="0">
              <a:cs typeface="Arial"/>
            </a:endParaRPr>
          </a:p>
          <a:p>
            <a:r>
              <a:rPr lang="de-DE" sz="900" b="1" dirty="0"/>
              <a:t>Garching </a:t>
            </a:r>
            <a:br>
              <a:rPr lang="de-DE" sz="900" b="1" dirty="0"/>
            </a:br>
            <a:r>
              <a:rPr lang="de-DE" sz="900" b="1" dirty="0"/>
              <a:t>Herbrechtingen </a:t>
            </a:r>
          </a:p>
          <a:p>
            <a:r>
              <a:rPr lang="de-DE" sz="900" b="1" dirty="0"/>
              <a:t>Regensburg </a:t>
            </a:r>
            <a:endParaRPr lang="de-DE" sz="900" b="1" dirty="0">
              <a:cs typeface="Arial"/>
            </a:endParaRPr>
          </a:p>
          <a:p>
            <a:r>
              <a:rPr lang="de-DE" sz="1000" b="1" i="1" baseline="-25000" dirty="0"/>
              <a:t>Germany</a:t>
            </a:r>
            <a:endParaRPr lang="de-DE" sz="1000" b="1" i="1" baseline="-25000" dirty="0">
              <a:cs typeface="Arial"/>
            </a:endParaRPr>
          </a:p>
        </p:txBody>
      </p:sp>
      <p:cxnSp>
        <p:nvCxnSpPr>
          <p:cNvPr id="31" name="Gerade Verbindung 30"/>
          <p:cNvCxnSpPr/>
          <p:nvPr/>
        </p:nvCxnSpPr>
        <p:spPr>
          <a:xfrm>
            <a:off x="4931348" y="3245260"/>
            <a:ext cx="99092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4617826" y="3225079"/>
            <a:ext cx="729687" cy="3334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1"/>
              <a:t>Toulouse </a:t>
            </a:r>
          </a:p>
          <a:p>
            <a:r>
              <a:rPr lang="de-DE" sz="1000" b="1" i="1" baseline="-25000"/>
              <a:t>France</a:t>
            </a:r>
          </a:p>
        </p:txBody>
      </p:sp>
      <p:cxnSp>
        <p:nvCxnSpPr>
          <p:cNvPr id="36" name="Gerade Verbindung 35"/>
          <p:cNvCxnSpPr/>
          <p:nvPr/>
        </p:nvCxnSpPr>
        <p:spPr>
          <a:xfrm>
            <a:off x="6434396" y="3249847"/>
            <a:ext cx="64807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/>
          <p:cNvSpPr txBox="1"/>
          <p:nvPr/>
        </p:nvSpPr>
        <p:spPr>
          <a:xfrm>
            <a:off x="6691382" y="3257522"/>
            <a:ext cx="548548" cy="3334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1" err="1"/>
              <a:t>Iasi</a:t>
            </a:r>
            <a:endParaRPr lang="de-DE" sz="900" b="1"/>
          </a:p>
          <a:p>
            <a:r>
              <a:rPr lang="de-DE" sz="1000" b="1" i="1" baseline="-25000"/>
              <a:t>Romania</a:t>
            </a:r>
            <a:endParaRPr lang="de-DE" sz="1000" b="1" baseline="-25000"/>
          </a:p>
        </p:txBody>
      </p:sp>
      <p:cxnSp>
        <p:nvCxnSpPr>
          <p:cNvPr id="39" name="Gerade Verbindung 38"/>
          <p:cNvCxnSpPr/>
          <p:nvPr/>
        </p:nvCxnSpPr>
        <p:spPr>
          <a:xfrm>
            <a:off x="6233232" y="3131040"/>
            <a:ext cx="64807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6476130" y="2781358"/>
            <a:ext cx="562975" cy="3334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1"/>
              <a:t>Vienna</a:t>
            </a:r>
          </a:p>
          <a:p>
            <a:r>
              <a:rPr lang="de-DE" sz="1000" b="1" i="1" baseline="-25000"/>
              <a:t>Austria</a:t>
            </a:r>
          </a:p>
        </p:txBody>
      </p:sp>
      <p:cxnSp>
        <p:nvCxnSpPr>
          <p:cNvPr id="41" name="Gerade Verbindung 40"/>
          <p:cNvCxnSpPr/>
          <p:nvPr/>
        </p:nvCxnSpPr>
        <p:spPr>
          <a:xfrm>
            <a:off x="4973337" y="3662587"/>
            <a:ext cx="118257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>
          <a:xfrm>
            <a:off x="6155909" y="3206611"/>
            <a:ext cx="1" cy="44726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4659815" y="3639598"/>
            <a:ext cx="627095" cy="3334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1"/>
              <a:t>Treviso </a:t>
            </a:r>
          </a:p>
          <a:p>
            <a:r>
              <a:rPr lang="en-US" sz="1000" b="1" i="1" baseline="-25000"/>
              <a:t>Italy</a:t>
            </a:r>
          </a:p>
        </p:txBody>
      </p:sp>
      <p:sp>
        <p:nvSpPr>
          <p:cNvPr id="212" name="Title 1"/>
          <p:cNvSpPr txBox="1">
            <a:spLocks/>
          </p:cNvSpPr>
          <p:nvPr/>
        </p:nvSpPr>
        <p:spPr bwMode="gray">
          <a:xfrm>
            <a:off x="226800" y="144000"/>
            <a:ext cx="11727386" cy="8863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15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sz="3200"/>
              <a:t>OSRAM Continental GmbH</a:t>
            </a:r>
            <a:br>
              <a:rPr lang="de-AT" sz="3200"/>
            </a:br>
            <a:r>
              <a:rPr lang="en-US" sz="3200" b="0"/>
              <a:t>Worldwide Presence at DAY 1 </a:t>
            </a:r>
          </a:p>
        </p:txBody>
      </p:sp>
      <p:cxnSp>
        <p:nvCxnSpPr>
          <p:cNvPr id="213" name="Gerade Verbindung 42"/>
          <p:cNvCxnSpPr/>
          <p:nvPr/>
        </p:nvCxnSpPr>
        <p:spPr>
          <a:xfrm>
            <a:off x="4978523" y="2867124"/>
            <a:ext cx="0" cy="249379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Freeform 45"/>
          <p:cNvSpPr>
            <a:spLocks/>
          </p:cNvSpPr>
          <p:nvPr/>
        </p:nvSpPr>
        <p:spPr bwMode="auto">
          <a:xfrm>
            <a:off x="802855" y="5358217"/>
            <a:ext cx="106874" cy="102071"/>
          </a:xfrm>
          <a:custGeom>
            <a:avLst/>
            <a:gdLst>
              <a:gd name="T0" fmla="*/ 0 w 525"/>
              <a:gd name="T1" fmla="*/ 194 h 500"/>
              <a:gd name="T2" fmla="*/ 18 w 525"/>
              <a:gd name="T3" fmla="*/ 179 h 500"/>
              <a:gd name="T4" fmla="*/ 176 w 525"/>
              <a:gd name="T5" fmla="*/ 156 h 500"/>
              <a:gd name="T6" fmla="*/ 247 w 525"/>
              <a:gd name="T7" fmla="*/ 13 h 500"/>
              <a:gd name="T8" fmla="*/ 263 w 525"/>
              <a:gd name="T9" fmla="*/ 0 h 500"/>
              <a:gd name="T10" fmla="*/ 278 w 525"/>
              <a:gd name="T11" fmla="*/ 13 h 500"/>
              <a:gd name="T12" fmla="*/ 349 w 525"/>
              <a:gd name="T13" fmla="*/ 156 h 500"/>
              <a:gd name="T14" fmla="*/ 507 w 525"/>
              <a:gd name="T15" fmla="*/ 179 h 500"/>
              <a:gd name="T16" fmla="*/ 525 w 525"/>
              <a:gd name="T17" fmla="*/ 194 h 500"/>
              <a:gd name="T18" fmla="*/ 516 w 525"/>
              <a:gd name="T19" fmla="*/ 209 h 500"/>
              <a:gd name="T20" fmla="*/ 402 w 525"/>
              <a:gd name="T21" fmla="*/ 321 h 500"/>
              <a:gd name="T22" fmla="*/ 429 w 525"/>
              <a:gd name="T23" fmla="*/ 478 h 500"/>
              <a:gd name="T24" fmla="*/ 429 w 525"/>
              <a:gd name="T25" fmla="*/ 484 h 500"/>
              <a:gd name="T26" fmla="*/ 426 w 525"/>
              <a:gd name="T27" fmla="*/ 495 h 500"/>
              <a:gd name="T28" fmla="*/ 417 w 525"/>
              <a:gd name="T29" fmla="*/ 500 h 500"/>
              <a:gd name="T30" fmla="*/ 404 w 525"/>
              <a:gd name="T31" fmla="*/ 496 h 500"/>
              <a:gd name="T32" fmla="*/ 263 w 525"/>
              <a:gd name="T33" fmla="*/ 422 h 500"/>
              <a:gd name="T34" fmla="*/ 121 w 525"/>
              <a:gd name="T35" fmla="*/ 496 h 500"/>
              <a:gd name="T36" fmla="*/ 109 w 525"/>
              <a:gd name="T37" fmla="*/ 500 h 500"/>
              <a:gd name="T38" fmla="*/ 99 w 525"/>
              <a:gd name="T39" fmla="*/ 495 h 500"/>
              <a:gd name="T40" fmla="*/ 95 w 525"/>
              <a:gd name="T41" fmla="*/ 484 h 500"/>
              <a:gd name="T42" fmla="*/ 96 w 525"/>
              <a:gd name="T43" fmla="*/ 478 h 500"/>
              <a:gd name="T44" fmla="*/ 123 w 525"/>
              <a:gd name="T45" fmla="*/ 321 h 500"/>
              <a:gd name="T46" fmla="*/ 8 w 525"/>
              <a:gd name="T47" fmla="*/ 209 h 500"/>
              <a:gd name="T48" fmla="*/ 0 w 525"/>
              <a:gd name="T49" fmla="*/ 194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25" h="500">
                <a:moveTo>
                  <a:pt x="0" y="194"/>
                </a:moveTo>
                <a:cubicBezTo>
                  <a:pt x="0" y="186"/>
                  <a:pt x="6" y="181"/>
                  <a:pt x="18" y="179"/>
                </a:cubicBezTo>
                <a:lnTo>
                  <a:pt x="176" y="156"/>
                </a:lnTo>
                <a:lnTo>
                  <a:pt x="247" y="13"/>
                </a:lnTo>
                <a:cubicBezTo>
                  <a:pt x="251" y="4"/>
                  <a:pt x="256" y="0"/>
                  <a:pt x="263" y="0"/>
                </a:cubicBezTo>
                <a:cubicBezTo>
                  <a:pt x="269" y="0"/>
                  <a:pt x="274" y="4"/>
                  <a:pt x="278" y="13"/>
                </a:cubicBezTo>
                <a:lnTo>
                  <a:pt x="349" y="156"/>
                </a:lnTo>
                <a:lnTo>
                  <a:pt x="507" y="179"/>
                </a:lnTo>
                <a:cubicBezTo>
                  <a:pt x="519" y="181"/>
                  <a:pt x="525" y="186"/>
                  <a:pt x="525" y="194"/>
                </a:cubicBezTo>
                <a:cubicBezTo>
                  <a:pt x="525" y="199"/>
                  <a:pt x="522" y="204"/>
                  <a:pt x="516" y="209"/>
                </a:cubicBezTo>
                <a:lnTo>
                  <a:pt x="402" y="321"/>
                </a:lnTo>
                <a:lnTo>
                  <a:pt x="429" y="478"/>
                </a:lnTo>
                <a:cubicBezTo>
                  <a:pt x="429" y="479"/>
                  <a:pt x="429" y="482"/>
                  <a:pt x="429" y="484"/>
                </a:cubicBezTo>
                <a:cubicBezTo>
                  <a:pt x="429" y="489"/>
                  <a:pt x="428" y="492"/>
                  <a:pt x="426" y="495"/>
                </a:cubicBezTo>
                <a:cubicBezTo>
                  <a:pt x="424" y="499"/>
                  <a:pt x="421" y="500"/>
                  <a:pt x="417" y="500"/>
                </a:cubicBezTo>
                <a:cubicBezTo>
                  <a:pt x="413" y="500"/>
                  <a:pt x="408" y="499"/>
                  <a:pt x="404" y="496"/>
                </a:cubicBezTo>
                <a:lnTo>
                  <a:pt x="263" y="422"/>
                </a:lnTo>
                <a:lnTo>
                  <a:pt x="121" y="496"/>
                </a:lnTo>
                <a:cubicBezTo>
                  <a:pt x="117" y="499"/>
                  <a:pt x="112" y="500"/>
                  <a:pt x="109" y="500"/>
                </a:cubicBezTo>
                <a:cubicBezTo>
                  <a:pt x="104" y="500"/>
                  <a:pt x="101" y="499"/>
                  <a:pt x="99" y="495"/>
                </a:cubicBezTo>
                <a:cubicBezTo>
                  <a:pt x="96" y="492"/>
                  <a:pt x="95" y="489"/>
                  <a:pt x="95" y="484"/>
                </a:cubicBezTo>
                <a:cubicBezTo>
                  <a:pt x="95" y="483"/>
                  <a:pt x="96" y="481"/>
                  <a:pt x="96" y="478"/>
                </a:cubicBezTo>
                <a:lnTo>
                  <a:pt x="123" y="321"/>
                </a:lnTo>
                <a:lnTo>
                  <a:pt x="8" y="209"/>
                </a:lnTo>
                <a:cubicBezTo>
                  <a:pt x="3" y="203"/>
                  <a:pt x="0" y="198"/>
                  <a:pt x="0" y="194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Freeform 46"/>
          <p:cNvSpPr>
            <a:spLocks noEditPoints="1"/>
          </p:cNvSpPr>
          <p:nvPr/>
        </p:nvSpPr>
        <p:spPr bwMode="auto">
          <a:xfrm>
            <a:off x="790533" y="5530180"/>
            <a:ext cx="121157" cy="115712"/>
          </a:xfrm>
          <a:custGeom>
            <a:avLst/>
            <a:gdLst>
              <a:gd name="T0" fmla="*/ 0 w 524"/>
              <a:gd name="T1" fmla="*/ 194 h 500"/>
              <a:gd name="T2" fmla="*/ 18 w 524"/>
              <a:gd name="T3" fmla="*/ 179 h 500"/>
              <a:gd name="T4" fmla="*/ 176 w 524"/>
              <a:gd name="T5" fmla="*/ 156 h 500"/>
              <a:gd name="T6" fmla="*/ 247 w 524"/>
              <a:gd name="T7" fmla="*/ 13 h 500"/>
              <a:gd name="T8" fmla="*/ 262 w 524"/>
              <a:gd name="T9" fmla="*/ 0 h 500"/>
              <a:gd name="T10" fmla="*/ 278 w 524"/>
              <a:gd name="T11" fmla="*/ 13 h 500"/>
              <a:gd name="T12" fmla="*/ 349 w 524"/>
              <a:gd name="T13" fmla="*/ 156 h 500"/>
              <a:gd name="T14" fmla="*/ 507 w 524"/>
              <a:gd name="T15" fmla="*/ 179 h 500"/>
              <a:gd name="T16" fmla="*/ 524 w 524"/>
              <a:gd name="T17" fmla="*/ 194 h 500"/>
              <a:gd name="T18" fmla="*/ 516 w 524"/>
              <a:gd name="T19" fmla="*/ 209 h 500"/>
              <a:gd name="T20" fmla="*/ 402 w 524"/>
              <a:gd name="T21" fmla="*/ 321 h 500"/>
              <a:gd name="T22" fmla="*/ 429 w 524"/>
              <a:gd name="T23" fmla="*/ 478 h 500"/>
              <a:gd name="T24" fmla="*/ 429 w 524"/>
              <a:gd name="T25" fmla="*/ 484 h 500"/>
              <a:gd name="T26" fmla="*/ 416 w 524"/>
              <a:gd name="T27" fmla="*/ 500 h 500"/>
              <a:gd name="T28" fmla="*/ 404 w 524"/>
              <a:gd name="T29" fmla="*/ 496 h 500"/>
              <a:gd name="T30" fmla="*/ 262 w 524"/>
              <a:gd name="T31" fmla="*/ 422 h 500"/>
              <a:gd name="T32" fmla="*/ 121 w 524"/>
              <a:gd name="T33" fmla="*/ 496 h 500"/>
              <a:gd name="T34" fmla="*/ 108 w 524"/>
              <a:gd name="T35" fmla="*/ 500 h 500"/>
              <a:gd name="T36" fmla="*/ 98 w 524"/>
              <a:gd name="T37" fmla="*/ 495 h 500"/>
              <a:gd name="T38" fmla="*/ 95 w 524"/>
              <a:gd name="T39" fmla="*/ 484 h 500"/>
              <a:gd name="T40" fmla="*/ 96 w 524"/>
              <a:gd name="T41" fmla="*/ 478 h 500"/>
              <a:gd name="T42" fmla="*/ 123 w 524"/>
              <a:gd name="T43" fmla="*/ 321 h 500"/>
              <a:gd name="T44" fmla="*/ 8 w 524"/>
              <a:gd name="T45" fmla="*/ 209 h 500"/>
              <a:gd name="T46" fmla="*/ 0 w 524"/>
              <a:gd name="T47" fmla="*/ 194 h 500"/>
              <a:gd name="T48" fmla="*/ 70 w 524"/>
              <a:gd name="T49" fmla="*/ 213 h 500"/>
              <a:gd name="T50" fmla="*/ 166 w 524"/>
              <a:gd name="T51" fmla="*/ 306 h 500"/>
              <a:gd name="T52" fmla="*/ 143 w 524"/>
              <a:gd name="T53" fmla="*/ 439 h 500"/>
              <a:gd name="T54" fmla="*/ 262 w 524"/>
              <a:gd name="T55" fmla="*/ 376 h 500"/>
              <a:gd name="T56" fmla="*/ 381 w 524"/>
              <a:gd name="T57" fmla="*/ 439 h 500"/>
              <a:gd name="T58" fmla="*/ 358 w 524"/>
              <a:gd name="T59" fmla="*/ 306 h 500"/>
              <a:gd name="T60" fmla="*/ 455 w 524"/>
              <a:gd name="T61" fmla="*/ 213 h 500"/>
              <a:gd name="T62" fmla="*/ 322 w 524"/>
              <a:gd name="T63" fmla="*/ 193 h 500"/>
              <a:gd name="T64" fmla="*/ 262 w 524"/>
              <a:gd name="T65" fmla="*/ 73 h 500"/>
              <a:gd name="T66" fmla="*/ 203 w 524"/>
              <a:gd name="T67" fmla="*/ 193 h 500"/>
              <a:gd name="T68" fmla="*/ 70 w 524"/>
              <a:gd name="T69" fmla="*/ 213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24" h="500">
                <a:moveTo>
                  <a:pt x="0" y="194"/>
                </a:moveTo>
                <a:cubicBezTo>
                  <a:pt x="0" y="186"/>
                  <a:pt x="6" y="181"/>
                  <a:pt x="18" y="179"/>
                </a:cubicBezTo>
                <a:lnTo>
                  <a:pt x="176" y="156"/>
                </a:lnTo>
                <a:lnTo>
                  <a:pt x="247" y="13"/>
                </a:lnTo>
                <a:cubicBezTo>
                  <a:pt x="251" y="4"/>
                  <a:pt x="256" y="0"/>
                  <a:pt x="262" y="0"/>
                </a:cubicBezTo>
                <a:cubicBezTo>
                  <a:pt x="269" y="0"/>
                  <a:pt x="274" y="4"/>
                  <a:pt x="278" y="13"/>
                </a:cubicBezTo>
                <a:lnTo>
                  <a:pt x="349" y="156"/>
                </a:lnTo>
                <a:lnTo>
                  <a:pt x="507" y="179"/>
                </a:lnTo>
                <a:cubicBezTo>
                  <a:pt x="518" y="181"/>
                  <a:pt x="524" y="186"/>
                  <a:pt x="524" y="194"/>
                </a:cubicBezTo>
                <a:cubicBezTo>
                  <a:pt x="524" y="199"/>
                  <a:pt x="522" y="204"/>
                  <a:pt x="516" y="209"/>
                </a:cubicBezTo>
                <a:lnTo>
                  <a:pt x="402" y="321"/>
                </a:lnTo>
                <a:lnTo>
                  <a:pt x="429" y="478"/>
                </a:lnTo>
                <a:cubicBezTo>
                  <a:pt x="429" y="479"/>
                  <a:pt x="429" y="482"/>
                  <a:pt x="429" y="484"/>
                </a:cubicBezTo>
                <a:cubicBezTo>
                  <a:pt x="429" y="495"/>
                  <a:pt x="425" y="500"/>
                  <a:pt x="416" y="500"/>
                </a:cubicBezTo>
                <a:cubicBezTo>
                  <a:pt x="412" y="500"/>
                  <a:pt x="408" y="499"/>
                  <a:pt x="404" y="496"/>
                </a:cubicBezTo>
                <a:lnTo>
                  <a:pt x="262" y="422"/>
                </a:lnTo>
                <a:lnTo>
                  <a:pt x="121" y="496"/>
                </a:lnTo>
                <a:cubicBezTo>
                  <a:pt x="116" y="499"/>
                  <a:pt x="112" y="500"/>
                  <a:pt x="108" y="500"/>
                </a:cubicBezTo>
                <a:cubicBezTo>
                  <a:pt x="104" y="500"/>
                  <a:pt x="100" y="499"/>
                  <a:pt x="98" y="495"/>
                </a:cubicBezTo>
                <a:cubicBezTo>
                  <a:pt x="96" y="492"/>
                  <a:pt x="95" y="489"/>
                  <a:pt x="95" y="484"/>
                </a:cubicBezTo>
                <a:cubicBezTo>
                  <a:pt x="95" y="483"/>
                  <a:pt x="95" y="481"/>
                  <a:pt x="96" y="478"/>
                </a:cubicBezTo>
                <a:lnTo>
                  <a:pt x="123" y="321"/>
                </a:lnTo>
                <a:lnTo>
                  <a:pt x="8" y="209"/>
                </a:lnTo>
                <a:cubicBezTo>
                  <a:pt x="3" y="203"/>
                  <a:pt x="0" y="198"/>
                  <a:pt x="0" y="194"/>
                </a:cubicBezTo>
                <a:close/>
                <a:moveTo>
                  <a:pt x="70" y="213"/>
                </a:moveTo>
                <a:lnTo>
                  <a:pt x="166" y="306"/>
                </a:lnTo>
                <a:lnTo>
                  <a:pt x="143" y="439"/>
                </a:lnTo>
                <a:lnTo>
                  <a:pt x="262" y="376"/>
                </a:lnTo>
                <a:lnTo>
                  <a:pt x="381" y="439"/>
                </a:lnTo>
                <a:lnTo>
                  <a:pt x="358" y="306"/>
                </a:lnTo>
                <a:lnTo>
                  <a:pt x="455" y="213"/>
                </a:lnTo>
                <a:lnTo>
                  <a:pt x="322" y="193"/>
                </a:lnTo>
                <a:lnTo>
                  <a:pt x="262" y="73"/>
                </a:lnTo>
                <a:lnTo>
                  <a:pt x="203" y="193"/>
                </a:lnTo>
                <a:lnTo>
                  <a:pt x="70" y="213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Freeform 58"/>
          <p:cNvSpPr>
            <a:spLocks noEditPoints="1"/>
          </p:cNvSpPr>
          <p:nvPr/>
        </p:nvSpPr>
        <p:spPr bwMode="auto">
          <a:xfrm>
            <a:off x="793285" y="5749501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Freeform 203"/>
          <p:cNvSpPr>
            <a:spLocks noEditPoints="1"/>
          </p:cNvSpPr>
          <p:nvPr/>
        </p:nvSpPr>
        <p:spPr bwMode="auto">
          <a:xfrm>
            <a:off x="773493" y="5972691"/>
            <a:ext cx="119795" cy="118435"/>
          </a:xfrm>
          <a:custGeom>
            <a:avLst/>
            <a:gdLst>
              <a:gd name="T0" fmla="*/ 0 w 517"/>
              <a:gd name="T1" fmla="*/ 443 h 517"/>
              <a:gd name="T2" fmla="*/ 12 w 517"/>
              <a:gd name="T3" fmla="*/ 414 h 517"/>
              <a:gd name="T4" fmla="*/ 226 w 517"/>
              <a:gd name="T5" fmla="*/ 200 h 517"/>
              <a:gd name="T6" fmla="*/ 263 w 517"/>
              <a:gd name="T7" fmla="*/ 255 h 517"/>
              <a:gd name="T8" fmla="*/ 317 w 517"/>
              <a:gd name="T9" fmla="*/ 291 h 517"/>
              <a:gd name="T10" fmla="*/ 102 w 517"/>
              <a:gd name="T11" fmla="*/ 505 h 517"/>
              <a:gd name="T12" fmla="*/ 74 w 517"/>
              <a:gd name="T13" fmla="*/ 517 h 517"/>
              <a:gd name="T14" fmla="*/ 45 w 517"/>
              <a:gd name="T15" fmla="*/ 505 h 517"/>
              <a:gd name="T16" fmla="*/ 12 w 517"/>
              <a:gd name="T17" fmla="*/ 471 h 517"/>
              <a:gd name="T18" fmla="*/ 0 w 517"/>
              <a:gd name="T19" fmla="*/ 443 h 517"/>
              <a:gd name="T20" fmla="*/ 80 w 517"/>
              <a:gd name="T21" fmla="*/ 409 h 517"/>
              <a:gd name="T22" fmla="*/ 74 w 517"/>
              <a:gd name="T23" fmla="*/ 423 h 517"/>
              <a:gd name="T24" fmla="*/ 80 w 517"/>
              <a:gd name="T25" fmla="*/ 437 h 517"/>
              <a:gd name="T26" fmla="*/ 94 w 517"/>
              <a:gd name="T27" fmla="*/ 443 h 517"/>
              <a:gd name="T28" fmla="*/ 108 w 517"/>
              <a:gd name="T29" fmla="*/ 437 h 517"/>
              <a:gd name="T30" fmla="*/ 114 w 517"/>
              <a:gd name="T31" fmla="*/ 423 h 517"/>
              <a:gd name="T32" fmla="*/ 108 w 517"/>
              <a:gd name="T33" fmla="*/ 409 h 517"/>
              <a:gd name="T34" fmla="*/ 94 w 517"/>
              <a:gd name="T35" fmla="*/ 403 h 517"/>
              <a:gd name="T36" fmla="*/ 80 w 517"/>
              <a:gd name="T37" fmla="*/ 409 h 517"/>
              <a:gd name="T38" fmla="*/ 277 w 517"/>
              <a:gd name="T39" fmla="*/ 240 h 517"/>
              <a:gd name="T40" fmla="*/ 235 w 517"/>
              <a:gd name="T41" fmla="*/ 141 h 517"/>
              <a:gd name="T42" fmla="*/ 277 w 517"/>
              <a:gd name="T43" fmla="*/ 41 h 517"/>
              <a:gd name="T44" fmla="*/ 376 w 517"/>
              <a:gd name="T45" fmla="*/ 0 h 517"/>
              <a:gd name="T46" fmla="*/ 415 w 517"/>
              <a:gd name="T47" fmla="*/ 5 h 517"/>
              <a:gd name="T48" fmla="*/ 449 w 517"/>
              <a:gd name="T49" fmla="*/ 19 h 517"/>
              <a:gd name="T50" fmla="*/ 454 w 517"/>
              <a:gd name="T51" fmla="*/ 28 h 517"/>
              <a:gd name="T52" fmla="*/ 449 w 517"/>
              <a:gd name="T53" fmla="*/ 37 h 517"/>
              <a:gd name="T54" fmla="*/ 356 w 517"/>
              <a:gd name="T55" fmla="*/ 90 h 517"/>
              <a:gd name="T56" fmla="*/ 356 w 517"/>
              <a:gd name="T57" fmla="*/ 161 h 517"/>
              <a:gd name="T58" fmla="*/ 417 w 517"/>
              <a:gd name="T59" fmla="*/ 195 h 517"/>
              <a:gd name="T60" fmla="*/ 442 w 517"/>
              <a:gd name="T61" fmla="*/ 179 h 517"/>
              <a:gd name="T62" fmla="*/ 485 w 517"/>
              <a:gd name="T63" fmla="*/ 154 h 517"/>
              <a:gd name="T64" fmla="*/ 507 w 517"/>
              <a:gd name="T65" fmla="*/ 143 h 517"/>
              <a:gd name="T66" fmla="*/ 514 w 517"/>
              <a:gd name="T67" fmla="*/ 146 h 517"/>
              <a:gd name="T68" fmla="*/ 517 w 517"/>
              <a:gd name="T69" fmla="*/ 154 h 517"/>
              <a:gd name="T70" fmla="*/ 510 w 517"/>
              <a:gd name="T71" fmla="*/ 187 h 517"/>
              <a:gd name="T72" fmla="*/ 458 w 517"/>
              <a:gd name="T73" fmla="*/ 256 h 517"/>
              <a:gd name="T74" fmla="*/ 376 w 517"/>
              <a:gd name="T75" fmla="*/ 282 h 517"/>
              <a:gd name="T76" fmla="*/ 277 w 517"/>
              <a:gd name="T77" fmla="*/ 24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7" h="517">
                <a:moveTo>
                  <a:pt x="0" y="443"/>
                </a:moveTo>
                <a:cubicBezTo>
                  <a:pt x="0" y="432"/>
                  <a:pt x="4" y="422"/>
                  <a:pt x="12" y="414"/>
                </a:cubicBezTo>
                <a:lnTo>
                  <a:pt x="226" y="200"/>
                </a:lnTo>
                <a:cubicBezTo>
                  <a:pt x="235" y="221"/>
                  <a:pt x="247" y="239"/>
                  <a:pt x="263" y="255"/>
                </a:cubicBezTo>
                <a:cubicBezTo>
                  <a:pt x="278" y="270"/>
                  <a:pt x="297" y="282"/>
                  <a:pt x="317" y="291"/>
                </a:cubicBezTo>
                <a:lnTo>
                  <a:pt x="102" y="505"/>
                </a:lnTo>
                <a:cubicBezTo>
                  <a:pt x="95" y="513"/>
                  <a:pt x="85" y="517"/>
                  <a:pt x="74" y="517"/>
                </a:cubicBezTo>
                <a:cubicBezTo>
                  <a:pt x="63" y="517"/>
                  <a:pt x="54" y="513"/>
                  <a:pt x="45" y="505"/>
                </a:cubicBezTo>
                <a:lnTo>
                  <a:pt x="12" y="471"/>
                </a:lnTo>
                <a:cubicBezTo>
                  <a:pt x="4" y="464"/>
                  <a:pt x="0" y="454"/>
                  <a:pt x="0" y="443"/>
                </a:cubicBezTo>
                <a:close/>
                <a:moveTo>
                  <a:pt x="80" y="409"/>
                </a:moveTo>
                <a:cubicBezTo>
                  <a:pt x="76" y="413"/>
                  <a:pt x="74" y="418"/>
                  <a:pt x="74" y="423"/>
                </a:cubicBezTo>
                <a:cubicBezTo>
                  <a:pt x="74" y="428"/>
                  <a:pt x="76" y="433"/>
                  <a:pt x="80" y="437"/>
                </a:cubicBezTo>
                <a:cubicBezTo>
                  <a:pt x="84" y="441"/>
                  <a:pt x="89" y="443"/>
                  <a:pt x="94" y="443"/>
                </a:cubicBezTo>
                <a:cubicBezTo>
                  <a:pt x="100" y="443"/>
                  <a:pt x="104" y="441"/>
                  <a:pt x="108" y="437"/>
                </a:cubicBezTo>
                <a:cubicBezTo>
                  <a:pt x="112" y="433"/>
                  <a:pt x="114" y="428"/>
                  <a:pt x="114" y="423"/>
                </a:cubicBezTo>
                <a:cubicBezTo>
                  <a:pt x="114" y="418"/>
                  <a:pt x="112" y="413"/>
                  <a:pt x="108" y="409"/>
                </a:cubicBezTo>
                <a:cubicBezTo>
                  <a:pt x="104" y="405"/>
                  <a:pt x="100" y="403"/>
                  <a:pt x="94" y="403"/>
                </a:cubicBezTo>
                <a:cubicBezTo>
                  <a:pt x="89" y="403"/>
                  <a:pt x="84" y="405"/>
                  <a:pt x="80" y="409"/>
                </a:cubicBezTo>
                <a:close/>
                <a:moveTo>
                  <a:pt x="277" y="240"/>
                </a:moveTo>
                <a:cubicBezTo>
                  <a:pt x="249" y="213"/>
                  <a:pt x="235" y="180"/>
                  <a:pt x="235" y="141"/>
                </a:cubicBezTo>
                <a:cubicBezTo>
                  <a:pt x="235" y="102"/>
                  <a:pt x="249" y="69"/>
                  <a:pt x="277" y="41"/>
                </a:cubicBezTo>
                <a:cubicBezTo>
                  <a:pt x="304" y="13"/>
                  <a:pt x="338" y="0"/>
                  <a:pt x="376" y="0"/>
                </a:cubicBezTo>
                <a:cubicBezTo>
                  <a:pt x="389" y="0"/>
                  <a:pt x="401" y="1"/>
                  <a:pt x="415" y="5"/>
                </a:cubicBezTo>
                <a:cubicBezTo>
                  <a:pt x="428" y="8"/>
                  <a:pt x="439" y="13"/>
                  <a:pt x="449" y="19"/>
                </a:cubicBezTo>
                <a:cubicBezTo>
                  <a:pt x="452" y="22"/>
                  <a:pt x="454" y="25"/>
                  <a:pt x="454" y="28"/>
                </a:cubicBezTo>
                <a:cubicBezTo>
                  <a:pt x="454" y="32"/>
                  <a:pt x="452" y="35"/>
                  <a:pt x="449" y="37"/>
                </a:cubicBezTo>
                <a:lnTo>
                  <a:pt x="356" y="90"/>
                </a:lnTo>
                <a:lnTo>
                  <a:pt x="356" y="161"/>
                </a:lnTo>
                <a:lnTo>
                  <a:pt x="417" y="195"/>
                </a:lnTo>
                <a:cubicBezTo>
                  <a:pt x="418" y="194"/>
                  <a:pt x="426" y="189"/>
                  <a:pt x="442" y="179"/>
                </a:cubicBezTo>
                <a:cubicBezTo>
                  <a:pt x="457" y="170"/>
                  <a:pt x="472" y="161"/>
                  <a:pt x="485" y="154"/>
                </a:cubicBezTo>
                <a:cubicBezTo>
                  <a:pt x="498" y="146"/>
                  <a:pt x="505" y="143"/>
                  <a:pt x="507" y="143"/>
                </a:cubicBezTo>
                <a:cubicBezTo>
                  <a:pt x="510" y="143"/>
                  <a:pt x="512" y="144"/>
                  <a:pt x="514" y="146"/>
                </a:cubicBezTo>
                <a:cubicBezTo>
                  <a:pt x="516" y="148"/>
                  <a:pt x="517" y="151"/>
                  <a:pt x="517" y="154"/>
                </a:cubicBezTo>
                <a:cubicBezTo>
                  <a:pt x="517" y="162"/>
                  <a:pt x="514" y="173"/>
                  <a:pt x="510" y="187"/>
                </a:cubicBezTo>
                <a:cubicBezTo>
                  <a:pt x="500" y="215"/>
                  <a:pt x="483" y="238"/>
                  <a:pt x="458" y="256"/>
                </a:cubicBezTo>
                <a:cubicBezTo>
                  <a:pt x="433" y="273"/>
                  <a:pt x="406" y="282"/>
                  <a:pt x="376" y="282"/>
                </a:cubicBezTo>
                <a:cubicBezTo>
                  <a:pt x="338" y="282"/>
                  <a:pt x="304" y="268"/>
                  <a:pt x="277" y="240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1001852" y="5315091"/>
            <a:ext cx="1175164" cy="16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de-DE" sz="1200"/>
              <a:t>HQ (global)</a:t>
            </a:r>
          </a:p>
        </p:txBody>
      </p:sp>
      <p:sp>
        <p:nvSpPr>
          <p:cNvPr id="218" name="Textfeld 217"/>
          <p:cNvSpPr txBox="1"/>
          <p:nvPr/>
        </p:nvSpPr>
        <p:spPr>
          <a:xfrm>
            <a:off x="1001852" y="5528252"/>
            <a:ext cx="1175164" cy="16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de-DE" sz="1200"/>
              <a:t>HQ (</a:t>
            </a:r>
            <a:r>
              <a:rPr lang="de-DE" sz="1200" err="1"/>
              <a:t>local</a:t>
            </a:r>
            <a:r>
              <a:rPr lang="de-DE" sz="1200"/>
              <a:t>)</a:t>
            </a:r>
          </a:p>
        </p:txBody>
      </p:sp>
      <p:sp>
        <p:nvSpPr>
          <p:cNvPr id="219" name="Textfeld 218"/>
          <p:cNvSpPr txBox="1"/>
          <p:nvPr/>
        </p:nvSpPr>
        <p:spPr>
          <a:xfrm>
            <a:off x="1001852" y="5728334"/>
            <a:ext cx="1175164" cy="16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de-DE" sz="1200"/>
              <a:t>R&amp;D</a:t>
            </a:r>
          </a:p>
        </p:txBody>
      </p:sp>
      <p:sp>
        <p:nvSpPr>
          <p:cNvPr id="220" name="Textfeld 219"/>
          <p:cNvSpPr txBox="1"/>
          <p:nvPr/>
        </p:nvSpPr>
        <p:spPr>
          <a:xfrm>
            <a:off x="1001852" y="5921805"/>
            <a:ext cx="1175164" cy="16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</a:pPr>
            <a:r>
              <a:rPr lang="de-DE" sz="1200"/>
              <a:t>Manufacturing</a:t>
            </a:r>
          </a:p>
        </p:txBody>
      </p:sp>
      <p:sp>
        <p:nvSpPr>
          <p:cNvPr id="222" name="Freeform 58"/>
          <p:cNvSpPr>
            <a:spLocks noEditPoints="1"/>
          </p:cNvSpPr>
          <p:nvPr/>
        </p:nvSpPr>
        <p:spPr bwMode="auto">
          <a:xfrm>
            <a:off x="8923188" y="4204005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Freeform 58"/>
          <p:cNvSpPr>
            <a:spLocks noEditPoints="1"/>
          </p:cNvSpPr>
          <p:nvPr/>
        </p:nvSpPr>
        <p:spPr bwMode="auto">
          <a:xfrm>
            <a:off x="4587474" y="2434431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Freeform 58"/>
          <p:cNvSpPr>
            <a:spLocks noEditPoints="1"/>
          </p:cNvSpPr>
          <p:nvPr/>
        </p:nvSpPr>
        <p:spPr bwMode="auto">
          <a:xfrm>
            <a:off x="2269935" y="3632498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Freeform 58"/>
          <p:cNvSpPr>
            <a:spLocks noEditPoints="1"/>
          </p:cNvSpPr>
          <p:nvPr/>
        </p:nvSpPr>
        <p:spPr bwMode="auto">
          <a:xfrm>
            <a:off x="2186385" y="2976947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Freeform 46"/>
          <p:cNvSpPr>
            <a:spLocks noEditPoints="1"/>
          </p:cNvSpPr>
          <p:nvPr/>
        </p:nvSpPr>
        <p:spPr bwMode="auto">
          <a:xfrm>
            <a:off x="8884041" y="3253422"/>
            <a:ext cx="121157" cy="115712"/>
          </a:xfrm>
          <a:custGeom>
            <a:avLst/>
            <a:gdLst>
              <a:gd name="T0" fmla="*/ 0 w 524"/>
              <a:gd name="T1" fmla="*/ 194 h 500"/>
              <a:gd name="T2" fmla="*/ 18 w 524"/>
              <a:gd name="T3" fmla="*/ 179 h 500"/>
              <a:gd name="T4" fmla="*/ 176 w 524"/>
              <a:gd name="T5" fmla="*/ 156 h 500"/>
              <a:gd name="T6" fmla="*/ 247 w 524"/>
              <a:gd name="T7" fmla="*/ 13 h 500"/>
              <a:gd name="T8" fmla="*/ 262 w 524"/>
              <a:gd name="T9" fmla="*/ 0 h 500"/>
              <a:gd name="T10" fmla="*/ 278 w 524"/>
              <a:gd name="T11" fmla="*/ 13 h 500"/>
              <a:gd name="T12" fmla="*/ 349 w 524"/>
              <a:gd name="T13" fmla="*/ 156 h 500"/>
              <a:gd name="T14" fmla="*/ 507 w 524"/>
              <a:gd name="T15" fmla="*/ 179 h 500"/>
              <a:gd name="T16" fmla="*/ 524 w 524"/>
              <a:gd name="T17" fmla="*/ 194 h 500"/>
              <a:gd name="T18" fmla="*/ 516 w 524"/>
              <a:gd name="T19" fmla="*/ 209 h 500"/>
              <a:gd name="T20" fmla="*/ 402 w 524"/>
              <a:gd name="T21" fmla="*/ 321 h 500"/>
              <a:gd name="T22" fmla="*/ 429 w 524"/>
              <a:gd name="T23" fmla="*/ 478 h 500"/>
              <a:gd name="T24" fmla="*/ 429 w 524"/>
              <a:gd name="T25" fmla="*/ 484 h 500"/>
              <a:gd name="T26" fmla="*/ 416 w 524"/>
              <a:gd name="T27" fmla="*/ 500 h 500"/>
              <a:gd name="T28" fmla="*/ 404 w 524"/>
              <a:gd name="T29" fmla="*/ 496 h 500"/>
              <a:gd name="T30" fmla="*/ 262 w 524"/>
              <a:gd name="T31" fmla="*/ 422 h 500"/>
              <a:gd name="T32" fmla="*/ 121 w 524"/>
              <a:gd name="T33" fmla="*/ 496 h 500"/>
              <a:gd name="T34" fmla="*/ 108 w 524"/>
              <a:gd name="T35" fmla="*/ 500 h 500"/>
              <a:gd name="T36" fmla="*/ 98 w 524"/>
              <a:gd name="T37" fmla="*/ 495 h 500"/>
              <a:gd name="T38" fmla="*/ 95 w 524"/>
              <a:gd name="T39" fmla="*/ 484 h 500"/>
              <a:gd name="T40" fmla="*/ 96 w 524"/>
              <a:gd name="T41" fmla="*/ 478 h 500"/>
              <a:gd name="T42" fmla="*/ 123 w 524"/>
              <a:gd name="T43" fmla="*/ 321 h 500"/>
              <a:gd name="T44" fmla="*/ 8 w 524"/>
              <a:gd name="T45" fmla="*/ 209 h 500"/>
              <a:gd name="T46" fmla="*/ 0 w 524"/>
              <a:gd name="T47" fmla="*/ 194 h 500"/>
              <a:gd name="T48" fmla="*/ 70 w 524"/>
              <a:gd name="T49" fmla="*/ 213 h 500"/>
              <a:gd name="T50" fmla="*/ 166 w 524"/>
              <a:gd name="T51" fmla="*/ 306 h 500"/>
              <a:gd name="T52" fmla="*/ 143 w 524"/>
              <a:gd name="T53" fmla="*/ 439 h 500"/>
              <a:gd name="T54" fmla="*/ 262 w 524"/>
              <a:gd name="T55" fmla="*/ 376 h 500"/>
              <a:gd name="T56" fmla="*/ 381 w 524"/>
              <a:gd name="T57" fmla="*/ 439 h 500"/>
              <a:gd name="T58" fmla="*/ 358 w 524"/>
              <a:gd name="T59" fmla="*/ 306 h 500"/>
              <a:gd name="T60" fmla="*/ 455 w 524"/>
              <a:gd name="T61" fmla="*/ 213 h 500"/>
              <a:gd name="T62" fmla="*/ 322 w 524"/>
              <a:gd name="T63" fmla="*/ 193 h 500"/>
              <a:gd name="T64" fmla="*/ 262 w 524"/>
              <a:gd name="T65" fmla="*/ 73 h 500"/>
              <a:gd name="T66" fmla="*/ 203 w 524"/>
              <a:gd name="T67" fmla="*/ 193 h 500"/>
              <a:gd name="T68" fmla="*/ 70 w 524"/>
              <a:gd name="T69" fmla="*/ 213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24" h="500">
                <a:moveTo>
                  <a:pt x="0" y="194"/>
                </a:moveTo>
                <a:cubicBezTo>
                  <a:pt x="0" y="186"/>
                  <a:pt x="6" y="181"/>
                  <a:pt x="18" y="179"/>
                </a:cubicBezTo>
                <a:lnTo>
                  <a:pt x="176" y="156"/>
                </a:lnTo>
                <a:lnTo>
                  <a:pt x="247" y="13"/>
                </a:lnTo>
                <a:cubicBezTo>
                  <a:pt x="251" y="4"/>
                  <a:pt x="256" y="0"/>
                  <a:pt x="262" y="0"/>
                </a:cubicBezTo>
                <a:cubicBezTo>
                  <a:pt x="269" y="0"/>
                  <a:pt x="274" y="4"/>
                  <a:pt x="278" y="13"/>
                </a:cubicBezTo>
                <a:lnTo>
                  <a:pt x="349" y="156"/>
                </a:lnTo>
                <a:lnTo>
                  <a:pt x="507" y="179"/>
                </a:lnTo>
                <a:cubicBezTo>
                  <a:pt x="518" y="181"/>
                  <a:pt x="524" y="186"/>
                  <a:pt x="524" y="194"/>
                </a:cubicBezTo>
                <a:cubicBezTo>
                  <a:pt x="524" y="199"/>
                  <a:pt x="522" y="204"/>
                  <a:pt x="516" y="209"/>
                </a:cubicBezTo>
                <a:lnTo>
                  <a:pt x="402" y="321"/>
                </a:lnTo>
                <a:lnTo>
                  <a:pt x="429" y="478"/>
                </a:lnTo>
                <a:cubicBezTo>
                  <a:pt x="429" y="479"/>
                  <a:pt x="429" y="482"/>
                  <a:pt x="429" y="484"/>
                </a:cubicBezTo>
                <a:cubicBezTo>
                  <a:pt x="429" y="495"/>
                  <a:pt x="425" y="500"/>
                  <a:pt x="416" y="500"/>
                </a:cubicBezTo>
                <a:cubicBezTo>
                  <a:pt x="412" y="500"/>
                  <a:pt x="408" y="499"/>
                  <a:pt x="404" y="496"/>
                </a:cubicBezTo>
                <a:lnTo>
                  <a:pt x="262" y="422"/>
                </a:lnTo>
                <a:lnTo>
                  <a:pt x="121" y="496"/>
                </a:lnTo>
                <a:cubicBezTo>
                  <a:pt x="116" y="499"/>
                  <a:pt x="112" y="500"/>
                  <a:pt x="108" y="500"/>
                </a:cubicBezTo>
                <a:cubicBezTo>
                  <a:pt x="104" y="500"/>
                  <a:pt x="100" y="499"/>
                  <a:pt x="98" y="495"/>
                </a:cubicBezTo>
                <a:cubicBezTo>
                  <a:pt x="96" y="492"/>
                  <a:pt x="95" y="489"/>
                  <a:pt x="95" y="484"/>
                </a:cubicBezTo>
                <a:cubicBezTo>
                  <a:pt x="95" y="483"/>
                  <a:pt x="95" y="481"/>
                  <a:pt x="96" y="478"/>
                </a:cubicBezTo>
                <a:lnTo>
                  <a:pt x="123" y="321"/>
                </a:lnTo>
                <a:lnTo>
                  <a:pt x="8" y="209"/>
                </a:lnTo>
                <a:cubicBezTo>
                  <a:pt x="3" y="203"/>
                  <a:pt x="0" y="198"/>
                  <a:pt x="0" y="194"/>
                </a:cubicBezTo>
                <a:close/>
                <a:moveTo>
                  <a:pt x="70" y="213"/>
                </a:moveTo>
                <a:lnTo>
                  <a:pt x="166" y="306"/>
                </a:lnTo>
                <a:lnTo>
                  <a:pt x="143" y="439"/>
                </a:lnTo>
                <a:lnTo>
                  <a:pt x="262" y="376"/>
                </a:lnTo>
                <a:lnTo>
                  <a:pt x="381" y="439"/>
                </a:lnTo>
                <a:lnTo>
                  <a:pt x="358" y="306"/>
                </a:lnTo>
                <a:lnTo>
                  <a:pt x="455" y="213"/>
                </a:lnTo>
                <a:lnTo>
                  <a:pt x="322" y="193"/>
                </a:lnTo>
                <a:lnTo>
                  <a:pt x="262" y="73"/>
                </a:lnTo>
                <a:lnTo>
                  <a:pt x="203" y="193"/>
                </a:lnTo>
                <a:lnTo>
                  <a:pt x="70" y="213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Freeform 46"/>
          <p:cNvSpPr>
            <a:spLocks noEditPoints="1"/>
          </p:cNvSpPr>
          <p:nvPr/>
        </p:nvSpPr>
        <p:spPr bwMode="auto">
          <a:xfrm>
            <a:off x="1991544" y="3109385"/>
            <a:ext cx="121157" cy="115712"/>
          </a:xfrm>
          <a:custGeom>
            <a:avLst/>
            <a:gdLst>
              <a:gd name="T0" fmla="*/ 0 w 524"/>
              <a:gd name="T1" fmla="*/ 194 h 500"/>
              <a:gd name="T2" fmla="*/ 18 w 524"/>
              <a:gd name="T3" fmla="*/ 179 h 500"/>
              <a:gd name="T4" fmla="*/ 176 w 524"/>
              <a:gd name="T5" fmla="*/ 156 h 500"/>
              <a:gd name="T6" fmla="*/ 247 w 524"/>
              <a:gd name="T7" fmla="*/ 13 h 500"/>
              <a:gd name="T8" fmla="*/ 262 w 524"/>
              <a:gd name="T9" fmla="*/ 0 h 500"/>
              <a:gd name="T10" fmla="*/ 278 w 524"/>
              <a:gd name="T11" fmla="*/ 13 h 500"/>
              <a:gd name="T12" fmla="*/ 349 w 524"/>
              <a:gd name="T13" fmla="*/ 156 h 500"/>
              <a:gd name="T14" fmla="*/ 507 w 524"/>
              <a:gd name="T15" fmla="*/ 179 h 500"/>
              <a:gd name="T16" fmla="*/ 524 w 524"/>
              <a:gd name="T17" fmla="*/ 194 h 500"/>
              <a:gd name="T18" fmla="*/ 516 w 524"/>
              <a:gd name="T19" fmla="*/ 209 h 500"/>
              <a:gd name="T20" fmla="*/ 402 w 524"/>
              <a:gd name="T21" fmla="*/ 321 h 500"/>
              <a:gd name="T22" fmla="*/ 429 w 524"/>
              <a:gd name="T23" fmla="*/ 478 h 500"/>
              <a:gd name="T24" fmla="*/ 429 w 524"/>
              <a:gd name="T25" fmla="*/ 484 h 500"/>
              <a:gd name="T26" fmla="*/ 416 w 524"/>
              <a:gd name="T27" fmla="*/ 500 h 500"/>
              <a:gd name="T28" fmla="*/ 404 w 524"/>
              <a:gd name="T29" fmla="*/ 496 h 500"/>
              <a:gd name="T30" fmla="*/ 262 w 524"/>
              <a:gd name="T31" fmla="*/ 422 h 500"/>
              <a:gd name="T32" fmla="*/ 121 w 524"/>
              <a:gd name="T33" fmla="*/ 496 h 500"/>
              <a:gd name="T34" fmla="*/ 108 w 524"/>
              <a:gd name="T35" fmla="*/ 500 h 500"/>
              <a:gd name="T36" fmla="*/ 98 w 524"/>
              <a:gd name="T37" fmla="*/ 495 h 500"/>
              <a:gd name="T38" fmla="*/ 95 w 524"/>
              <a:gd name="T39" fmla="*/ 484 h 500"/>
              <a:gd name="T40" fmla="*/ 96 w 524"/>
              <a:gd name="T41" fmla="*/ 478 h 500"/>
              <a:gd name="T42" fmla="*/ 123 w 524"/>
              <a:gd name="T43" fmla="*/ 321 h 500"/>
              <a:gd name="T44" fmla="*/ 8 w 524"/>
              <a:gd name="T45" fmla="*/ 209 h 500"/>
              <a:gd name="T46" fmla="*/ 0 w 524"/>
              <a:gd name="T47" fmla="*/ 194 h 500"/>
              <a:gd name="T48" fmla="*/ 70 w 524"/>
              <a:gd name="T49" fmla="*/ 213 h 500"/>
              <a:gd name="T50" fmla="*/ 166 w 524"/>
              <a:gd name="T51" fmla="*/ 306 h 500"/>
              <a:gd name="T52" fmla="*/ 143 w 524"/>
              <a:gd name="T53" fmla="*/ 439 h 500"/>
              <a:gd name="T54" fmla="*/ 262 w 524"/>
              <a:gd name="T55" fmla="*/ 376 h 500"/>
              <a:gd name="T56" fmla="*/ 381 w 524"/>
              <a:gd name="T57" fmla="*/ 439 h 500"/>
              <a:gd name="T58" fmla="*/ 358 w 524"/>
              <a:gd name="T59" fmla="*/ 306 h 500"/>
              <a:gd name="T60" fmla="*/ 455 w 524"/>
              <a:gd name="T61" fmla="*/ 213 h 500"/>
              <a:gd name="T62" fmla="*/ 322 w 524"/>
              <a:gd name="T63" fmla="*/ 193 h 500"/>
              <a:gd name="T64" fmla="*/ 262 w 524"/>
              <a:gd name="T65" fmla="*/ 73 h 500"/>
              <a:gd name="T66" fmla="*/ 203 w 524"/>
              <a:gd name="T67" fmla="*/ 193 h 500"/>
              <a:gd name="T68" fmla="*/ 70 w 524"/>
              <a:gd name="T69" fmla="*/ 213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24" h="500">
                <a:moveTo>
                  <a:pt x="0" y="194"/>
                </a:moveTo>
                <a:cubicBezTo>
                  <a:pt x="0" y="186"/>
                  <a:pt x="6" y="181"/>
                  <a:pt x="18" y="179"/>
                </a:cubicBezTo>
                <a:lnTo>
                  <a:pt x="176" y="156"/>
                </a:lnTo>
                <a:lnTo>
                  <a:pt x="247" y="13"/>
                </a:lnTo>
                <a:cubicBezTo>
                  <a:pt x="251" y="4"/>
                  <a:pt x="256" y="0"/>
                  <a:pt x="262" y="0"/>
                </a:cubicBezTo>
                <a:cubicBezTo>
                  <a:pt x="269" y="0"/>
                  <a:pt x="274" y="4"/>
                  <a:pt x="278" y="13"/>
                </a:cubicBezTo>
                <a:lnTo>
                  <a:pt x="349" y="156"/>
                </a:lnTo>
                <a:lnTo>
                  <a:pt x="507" y="179"/>
                </a:lnTo>
                <a:cubicBezTo>
                  <a:pt x="518" y="181"/>
                  <a:pt x="524" y="186"/>
                  <a:pt x="524" y="194"/>
                </a:cubicBezTo>
                <a:cubicBezTo>
                  <a:pt x="524" y="199"/>
                  <a:pt x="522" y="204"/>
                  <a:pt x="516" y="209"/>
                </a:cubicBezTo>
                <a:lnTo>
                  <a:pt x="402" y="321"/>
                </a:lnTo>
                <a:lnTo>
                  <a:pt x="429" y="478"/>
                </a:lnTo>
                <a:cubicBezTo>
                  <a:pt x="429" y="479"/>
                  <a:pt x="429" y="482"/>
                  <a:pt x="429" y="484"/>
                </a:cubicBezTo>
                <a:cubicBezTo>
                  <a:pt x="429" y="495"/>
                  <a:pt x="425" y="500"/>
                  <a:pt x="416" y="500"/>
                </a:cubicBezTo>
                <a:cubicBezTo>
                  <a:pt x="412" y="500"/>
                  <a:pt x="408" y="499"/>
                  <a:pt x="404" y="496"/>
                </a:cubicBezTo>
                <a:lnTo>
                  <a:pt x="262" y="422"/>
                </a:lnTo>
                <a:lnTo>
                  <a:pt x="121" y="496"/>
                </a:lnTo>
                <a:cubicBezTo>
                  <a:pt x="116" y="499"/>
                  <a:pt x="112" y="500"/>
                  <a:pt x="108" y="500"/>
                </a:cubicBezTo>
                <a:cubicBezTo>
                  <a:pt x="104" y="500"/>
                  <a:pt x="100" y="499"/>
                  <a:pt x="98" y="495"/>
                </a:cubicBezTo>
                <a:cubicBezTo>
                  <a:pt x="96" y="492"/>
                  <a:pt x="95" y="489"/>
                  <a:pt x="95" y="484"/>
                </a:cubicBezTo>
                <a:cubicBezTo>
                  <a:pt x="95" y="483"/>
                  <a:pt x="95" y="481"/>
                  <a:pt x="96" y="478"/>
                </a:cubicBezTo>
                <a:lnTo>
                  <a:pt x="123" y="321"/>
                </a:lnTo>
                <a:lnTo>
                  <a:pt x="8" y="209"/>
                </a:lnTo>
                <a:cubicBezTo>
                  <a:pt x="3" y="203"/>
                  <a:pt x="0" y="198"/>
                  <a:pt x="0" y="194"/>
                </a:cubicBezTo>
                <a:close/>
                <a:moveTo>
                  <a:pt x="70" y="213"/>
                </a:moveTo>
                <a:lnTo>
                  <a:pt x="166" y="306"/>
                </a:lnTo>
                <a:lnTo>
                  <a:pt x="143" y="439"/>
                </a:lnTo>
                <a:lnTo>
                  <a:pt x="262" y="376"/>
                </a:lnTo>
                <a:lnTo>
                  <a:pt x="381" y="439"/>
                </a:lnTo>
                <a:lnTo>
                  <a:pt x="358" y="306"/>
                </a:lnTo>
                <a:lnTo>
                  <a:pt x="455" y="213"/>
                </a:lnTo>
                <a:lnTo>
                  <a:pt x="322" y="193"/>
                </a:lnTo>
                <a:lnTo>
                  <a:pt x="262" y="73"/>
                </a:lnTo>
                <a:lnTo>
                  <a:pt x="203" y="193"/>
                </a:lnTo>
                <a:lnTo>
                  <a:pt x="70" y="213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Freeform 203"/>
          <p:cNvSpPr>
            <a:spLocks noEditPoints="1"/>
          </p:cNvSpPr>
          <p:nvPr/>
        </p:nvSpPr>
        <p:spPr bwMode="auto">
          <a:xfrm>
            <a:off x="8884041" y="3406464"/>
            <a:ext cx="119795" cy="118435"/>
          </a:xfrm>
          <a:custGeom>
            <a:avLst/>
            <a:gdLst>
              <a:gd name="T0" fmla="*/ 0 w 517"/>
              <a:gd name="T1" fmla="*/ 443 h 517"/>
              <a:gd name="T2" fmla="*/ 12 w 517"/>
              <a:gd name="T3" fmla="*/ 414 h 517"/>
              <a:gd name="T4" fmla="*/ 226 w 517"/>
              <a:gd name="T5" fmla="*/ 200 h 517"/>
              <a:gd name="T6" fmla="*/ 263 w 517"/>
              <a:gd name="T7" fmla="*/ 255 h 517"/>
              <a:gd name="T8" fmla="*/ 317 w 517"/>
              <a:gd name="T9" fmla="*/ 291 h 517"/>
              <a:gd name="T10" fmla="*/ 102 w 517"/>
              <a:gd name="T11" fmla="*/ 505 h 517"/>
              <a:gd name="T12" fmla="*/ 74 w 517"/>
              <a:gd name="T13" fmla="*/ 517 h 517"/>
              <a:gd name="T14" fmla="*/ 45 w 517"/>
              <a:gd name="T15" fmla="*/ 505 h 517"/>
              <a:gd name="T16" fmla="*/ 12 w 517"/>
              <a:gd name="T17" fmla="*/ 471 h 517"/>
              <a:gd name="T18" fmla="*/ 0 w 517"/>
              <a:gd name="T19" fmla="*/ 443 h 517"/>
              <a:gd name="T20" fmla="*/ 80 w 517"/>
              <a:gd name="T21" fmla="*/ 409 h 517"/>
              <a:gd name="T22" fmla="*/ 74 w 517"/>
              <a:gd name="T23" fmla="*/ 423 h 517"/>
              <a:gd name="T24" fmla="*/ 80 w 517"/>
              <a:gd name="T25" fmla="*/ 437 h 517"/>
              <a:gd name="T26" fmla="*/ 94 w 517"/>
              <a:gd name="T27" fmla="*/ 443 h 517"/>
              <a:gd name="T28" fmla="*/ 108 w 517"/>
              <a:gd name="T29" fmla="*/ 437 h 517"/>
              <a:gd name="T30" fmla="*/ 114 w 517"/>
              <a:gd name="T31" fmla="*/ 423 h 517"/>
              <a:gd name="T32" fmla="*/ 108 w 517"/>
              <a:gd name="T33" fmla="*/ 409 h 517"/>
              <a:gd name="T34" fmla="*/ 94 w 517"/>
              <a:gd name="T35" fmla="*/ 403 h 517"/>
              <a:gd name="T36" fmla="*/ 80 w 517"/>
              <a:gd name="T37" fmla="*/ 409 h 517"/>
              <a:gd name="T38" fmla="*/ 277 w 517"/>
              <a:gd name="T39" fmla="*/ 240 h 517"/>
              <a:gd name="T40" fmla="*/ 235 w 517"/>
              <a:gd name="T41" fmla="*/ 141 h 517"/>
              <a:gd name="T42" fmla="*/ 277 w 517"/>
              <a:gd name="T43" fmla="*/ 41 h 517"/>
              <a:gd name="T44" fmla="*/ 376 w 517"/>
              <a:gd name="T45" fmla="*/ 0 h 517"/>
              <a:gd name="T46" fmla="*/ 415 w 517"/>
              <a:gd name="T47" fmla="*/ 5 h 517"/>
              <a:gd name="T48" fmla="*/ 449 w 517"/>
              <a:gd name="T49" fmla="*/ 19 h 517"/>
              <a:gd name="T50" fmla="*/ 454 w 517"/>
              <a:gd name="T51" fmla="*/ 28 h 517"/>
              <a:gd name="T52" fmla="*/ 449 w 517"/>
              <a:gd name="T53" fmla="*/ 37 h 517"/>
              <a:gd name="T54" fmla="*/ 356 w 517"/>
              <a:gd name="T55" fmla="*/ 90 h 517"/>
              <a:gd name="T56" fmla="*/ 356 w 517"/>
              <a:gd name="T57" fmla="*/ 161 h 517"/>
              <a:gd name="T58" fmla="*/ 417 w 517"/>
              <a:gd name="T59" fmla="*/ 195 h 517"/>
              <a:gd name="T60" fmla="*/ 442 w 517"/>
              <a:gd name="T61" fmla="*/ 179 h 517"/>
              <a:gd name="T62" fmla="*/ 485 w 517"/>
              <a:gd name="T63" fmla="*/ 154 h 517"/>
              <a:gd name="T64" fmla="*/ 507 w 517"/>
              <a:gd name="T65" fmla="*/ 143 h 517"/>
              <a:gd name="T66" fmla="*/ 514 w 517"/>
              <a:gd name="T67" fmla="*/ 146 h 517"/>
              <a:gd name="T68" fmla="*/ 517 w 517"/>
              <a:gd name="T69" fmla="*/ 154 h 517"/>
              <a:gd name="T70" fmla="*/ 510 w 517"/>
              <a:gd name="T71" fmla="*/ 187 h 517"/>
              <a:gd name="T72" fmla="*/ 458 w 517"/>
              <a:gd name="T73" fmla="*/ 256 h 517"/>
              <a:gd name="T74" fmla="*/ 376 w 517"/>
              <a:gd name="T75" fmla="*/ 282 h 517"/>
              <a:gd name="T76" fmla="*/ 277 w 517"/>
              <a:gd name="T77" fmla="*/ 24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7" h="517">
                <a:moveTo>
                  <a:pt x="0" y="443"/>
                </a:moveTo>
                <a:cubicBezTo>
                  <a:pt x="0" y="432"/>
                  <a:pt x="4" y="422"/>
                  <a:pt x="12" y="414"/>
                </a:cubicBezTo>
                <a:lnTo>
                  <a:pt x="226" y="200"/>
                </a:lnTo>
                <a:cubicBezTo>
                  <a:pt x="235" y="221"/>
                  <a:pt x="247" y="239"/>
                  <a:pt x="263" y="255"/>
                </a:cubicBezTo>
                <a:cubicBezTo>
                  <a:pt x="278" y="270"/>
                  <a:pt x="297" y="282"/>
                  <a:pt x="317" y="291"/>
                </a:cubicBezTo>
                <a:lnTo>
                  <a:pt x="102" y="505"/>
                </a:lnTo>
                <a:cubicBezTo>
                  <a:pt x="95" y="513"/>
                  <a:pt x="85" y="517"/>
                  <a:pt x="74" y="517"/>
                </a:cubicBezTo>
                <a:cubicBezTo>
                  <a:pt x="63" y="517"/>
                  <a:pt x="54" y="513"/>
                  <a:pt x="45" y="505"/>
                </a:cubicBezTo>
                <a:lnTo>
                  <a:pt x="12" y="471"/>
                </a:lnTo>
                <a:cubicBezTo>
                  <a:pt x="4" y="464"/>
                  <a:pt x="0" y="454"/>
                  <a:pt x="0" y="443"/>
                </a:cubicBezTo>
                <a:close/>
                <a:moveTo>
                  <a:pt x="80" y="409"/>
                </a:moveTo>
                <a:cubicBezTo>
                  <a:pt x="76" y="413"/>
                  <a:pt x="74" y="418"/>
                  <a:pt x="74" y="423"/>
                </a:cubicBezTo>
                <a:cubicBezTo>
                  <a:pt x="74" y="428"/>
                  <a:pt x="76" y="433"/>
                  <a:pt x="80" y="437"/>
                </a:cubicBezTo>
                <a:cubicBezTo>
                  <a:pt x="84" y="441"/>
                  <a:pt x="89" y="443"/>
                  <a:pt x="94" y="443"/>
                </a:cubicBezTo>
                <a:cubicBezTo>
                  <a:pt x="100" y="443"/>
                  <a:pt x="104" y="441"/>
                  <a:pt x="108" y="437"/>
                </a:cubicBezTo>
                <a:cubicBezTo>
                  <a:pt x="112" y="433"/>
                  <a:pt x="114" y="428"/>
                  <a:pt x="114" y="423"/>
                </a:cubicBezTo>
                <a:cubicBezTo>
                  <a:pt x="114" y="418"/>
                  <a:pt x="112" y="413"/>
                  <a:pt x="108" y="409"/>
                </a:cubicBezTo>
                <a:cubicBezTo>
                  <a:pt x="104" y="405"/>
                  <a:pt x="100" y="403"/>
                  <a:pt x="94" y="403"/>
                </a:cubicBezTo>
                <a:cubicBezTo>
                  <a:pt x="89" y="403"/>
                  <a:pt x="84" y="405"/>
                  <a:pt x="80" y="409"/>
                </a:cubicBezTo>
                <a:close/>
                <a:moveTo>
                  <a:pt x="277" y="240"/>
                </a:moveTo>
                <a:cubicBezTo>
                  <a:pt x="249" y="213"/>
                  <a:pt x="235" y="180"/>
                  <a:pt x="235" y="141"/>
                </a:cubicBezTo>
                <a:cubicBezTo>
                  <a:pt x="235" y="102"/>
                  <a:pt x="249" y="69"/>
                  <a:pt x="277" y="41"/>
                </a:cubicBezTo>
                <a:cubicBezTo>
                  <a:pt x="304" y="13"/>
                  <a:pt x="338" y="0"/>
                  <a:pt x="376" y="0"/>
                </a:cubicBezTo>
                <a:cubicBezTo>
                  <a:pt x="389" y="0"/>
                  <a:pt x="401" y="1"/>
                  <a:pt x="415" y="5"/>
                </a:cubicBezTo>
                <a:cubicBezTo>
                  <a:pt x="428" y="8"/>
                  <a:pt x="439" y="13"/>
                  <a:pt x="449" y="19"/>
                </a:cubicBezTo>
                <a:cubicBezTo>
                  <a:pt x="452" y="22"/>
                  <a:pt x="454" y="25"/>
                  <a:pt x="454" y="28"/>
                </a:cubicBezTo>
                <a:cubicBezTo>
                  <a:pt x="454" y="32"/>
                  <a:pt x="452" y="35"/>
                  <a:pt x="449" y="37"/>
                </a:cubicBezTo>
                <a:lnTo>
                  <a:pt x="356" y="90"/>
                </a:lnTo>
                <a:lnTo>
                  <a:pt x="356" y="161"/>
                </a:lnTo>
                <a:lnTo>
                  <a:pt x="417" y="195"/>
                </a:lnTo>
                <a:cubicBezTo>
                  <a:pt x="418" y="194"/>
                  <a:pt x="426" y="189"/>
                  <a:pt x="442" y="179"/>
                </a:cubicBezTo>
                <a:cubicBezTo>
                  <a:pt x="457" y="170"/>
                  <a:pt x="472" y="161"/>
                  <a:pt x="485" y="154"/>
                </a:cubicBezTo>
                <a:cubicBezTo>
                  <a:pt x="498" y="146"/>
                  <a:pt x="505" y="143"/>
                  <a:pt x="507" y="143"/>
                </a:cubicBezTo>
                <a:cubicBezTo>
                  <a:pt x="510" y="143"/>
                  <a:pt x="512" y="144"/>
                  <a:pt x="514" y="146"/>
                </a:cubicBezTo>
                <a:cubicBezTo>
                  <a:pt x="516" y="148"/>
                  <a:pt x="517" y="151"/>
                  <a:pt x="517" y="154"/>
                </a:cubicBezTo>
                <a:cubicBezTo>
                  <a:pt x="517" y="162"/>
                  <a:pt x="514" y="173"/>
                  <a:pt x="510" y="187"/>
                </a:cubicBezTo>
                <a:cubicBezTo>
                  <a:pt x="500" y="215"/>
                  <a:pt x="483" y="238"/>
                  <a:pt x="458" y="256"/>
                </a:cubicBezTo>
                <a:cubicBezTo>
                  <a:pt x="433" y="273"/>
                  <a:pt x="406" y="282"/>
                  <a:pt x="376" y="282"/>
                </a:cubicBezTo>
                <a:cubicBezTo>
                  <a:pt x="338" y="282"/>
                  <a:pt x="304" y="268"/>
                  <a:pt x="277" y="240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Freeform 203"/>
          <p:cNvSpPr>
            <a:spLocks noEditPoints="1"/>
          </p:cNvSpPr>
          <p:nvPr/>
        </p:nvSpPr>
        <p:spPr bwMode="auto">
          <a:xfrm>
            <a:off x="4591391" y="3696540"/>
            <a:ext cx="119795" cy="118435"/>
          </a:xfrm>
          <a:custGeom>
            <a:avLst/>
            <a:gdLst>
              <a:gd name="T0" fmla="*/ 0 w 517"/>
              <a:gd name="T1" fmla="*/ 443 h 517"/>
              <a:gd name="T2" fmla="*/ 12 w 517"/>
              <a:gd name="T3" fmla="*/ 414 h 517"/>
              <a:gd name="T4" fmla="*/ 226 w 517"/>
              <a:gd name="T5" fmla="*/ 200 h 517"/>
              <a:gd name="T6" fmla="*/ 263 w 517"/>
              <a:gd name="T7" fmla="*/ 255 h 517"/>
              <a:gd name="T8" fmla="*/ 317 w 517"/>
              <a:gd name="T9" fmla="*/ 291 h 517"/>
              <a:gd name="T10" fmla="*/ 102 w 517"/>
              <a:gd name="T11" fmla="*/ 505 h 517"/>
              <a:gd name="T12" fmla="*/ 74 w 517"/>
              <a:gd name="T13" fmla="*/ 517 h 517"/>
              <a:gd name="T14" fmla="*/ 45 w 517"/>
              <a:gd name="T15" fmla="*/ 505 h 517"/>
              <a:gd name="T16" fmla="*/ 12 w 517"/>
              <a:gd name="T17" fmla="*/ 471 h 517"/>
              <a:gd name="T18" fmla="*/ 0 w 517"/>
              <a:gd name="T19" fmla="*/ 443 h 517"/>
              <a:gd name="T20" fmla="*/ 80 w 517"/>
              <a:gd name="T21" fmla="*/ 409 h 517"/>
              <a:gd name="T22" fmla="*/ 74 w 517"/>
              <a:gd name="T23" fmla="*/ 423 h 517"/>
              <a:gd name="T24" fmla="*/ 80 w 517"/>
              <a:gd name="T25" fmla="*/ 437 h 517"/>
              <a:gd name="T26" fmla="*/ 94 w 517"/>
              <a:gd name="T27" fmla="*/ 443 h 517"/>
              <a:gd name="T28" fmla="*/ 108 w 517"/>
              <a:gd name="T29" fmla="*/ 437 h 517"/>
              <a:gd name="T30" fmla="*/ 114 w 517"/>
              <a:gd name="T31" fmla="*/ 423 h 517"/>
              <a:gd name="T32" fmla="*/ 108 w 517"/>
              <a:gd name="T33" fmla="*/ 409 h 517"/>
              <a:gd name="T34" fmla="*/ 94 w 517"/>
              <a:gd name="T35" fmla="*/ 403 h 517"/>
              <a:gd name="T36" fmla="*/ 80 w 517"/>
              <a:gd name="T37" fmla="*/ 409 h 517"/>
              <a:gd name="T38" fmla="*/ 277 w 517"/>
              <a:gd name="T39" fmla="*/ 240 h 517"/>
              <a:gd name="T40" fmla="*/ 235 w 517"/>
              <a:gd name="T41" fmla="*/ 141 h 517"/>
              <a:gd name="T42" fmla="*/ 277 w 517"/>
              <a:gd name="T43" fmla="*/ 41 h 517"/>
              <a:gd name="T44" fmla="*/ 376 w 517"/>
              <a:gd name="T45" fmla="*/ 0 h 517"/>
              <a:gd name="T46" fmla="*/ 415 w 517"/>
              <a:gd name="T47" fmla="*/ 5 h 517"/>
              <a:gd name="T48" fmla="*/ 449 w 517"/>
              <a:gd name="T49" fmla="*/ 19 h 517"/>
              <a:gd name="T50" fmla="*/ 454 w 517"/>
              <a:gd name="T51" fmla="*/ 28 h 517"/>
              <a:gd name="T52" fmla="*/ 449 w 517"/>
              <a:gd name="T53" fmla="*/ 37 h 517"/>
              <a:gd name="T54" fmla="*/ 356 w 517"/>
              <a:gd name="T55" fmla="*/ 90 h 517"/>
              <a:gd name="T56" fmla="*/ 356 w 517"/>
              <a:gd name="T57" fmla="*/ 161 h 517"/>
              <a:gd name="T58" fmla="*/ 417 w 517"/>
              <a:gd name="T59" fmla="*/ 195 h 517"/>
              <a:gd name="T60" fmla="*/ 442 w 517"/>
              <a:gd name="T61" fmla="*/ 179 h 517"/>
              <a:gd name="T62" fmla="*/ 485 w 517"/>
              <a:gd name="T63" fmla="*/ 154 h 517"/>
              <a:gd name="T64" fmla="*/ 507 w 517"/>
              <a:gd name="T65" fmla="*/ 143 h 517"/>
              <a:gd name="T66" fmla="*/ 514 w 517"/>
              <a:gd name="T67" fmla="*/ 146 h 517"/>
              <a:gd name="T68" fmla="*/ 517 w 517"/>
              <a:gd name="T69" fmla="*/ 154 h 517"/>
              <a:gd name="T70" fmla="*/ 510 w 517"/>
              <a:gd name="T71" fmla="*/ 187 h 517"/>
              <a:gd name="T72" fmla="*/ 458 w 517"/>
              <a:gd name="T73" fmla="*/ 256 h 517"/>
              <a:gd name="T74" fmla="*/ 376 w 517"/>
              <a:gd name="T75" fmla="*/ 282 h 517"/>
              <a:gd name="T76" fmla="*/ 277 w 517"/>
              <a:gd name="T77" fmla="*/ 24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7" h="517">
                <a:moveTo>
                  <a:pt x="0" y="443"/>
                </a:moveTo>
                <a:cubicBezTo>
                  <a:pt x="0" y="432"/>
                  <a:pt x="4" y="422"/>
                  <a:pt x="12" y="414"/>
                </a:cubicBezTo>
                <a:lnTo>
                  <a:pt x="226" y="200"/>
                </a:lnTo>
                <a:cubicBezTo>
                  <a:pt x="235" y="221"/>
                  <a:pt x="247" y="239"/>
                  <a:pt x="263" y="255"/>
                </a:cubicBezTo>
                <a:cubicBezTo>
                  <a:pt x="278" y="270"/>
                  <a:pt x="297" y="282"/>
                  <a:pt x="317" y="291"/>
                </a:cubicBezTo>
                <a:lnTo>
                  <a:pt x="102" y="505"/>
                </a:lnTo>
                <a:cubicBezTo>
                  <a:pt x="95" y="513"/>
                  <a:pt x="85" y="517"/>
                  <a:pt x="74" y="517"/>
                </a:cubicBezTo>
                <a:cubicBezTo>
                  <a:pt x="63" y="517"/>
                  <a:pt x="54" y="513"/>
                  <a:pt x="45" y="505"/>
                </a:cubicBezTo>
                <a:lnTo>
                  <a:pt x="12" y="471"/>
                </a:lnTo>
                <a:cubicBezTo>
                  <a:pt x="4" y="464"/>
                  <a:pt x="0" y="454"/>
                  <a:pt x="0" y="443"/>
                </a:cubicBezTo>
                <a:close/>
                <a:moveTo>
                  <a:pt x="80" y="409"/>
                </a:moveTo>
                <a:cubicBezTo>
                  <a:pt x="76" y="413"/>
                  <a:pt x="74" y="418"/>
                  <a:pt x="74" y="423"/>
                </a:cubicBezTo>
                <a:cubicBezTo>
                  <a:pt x="74" y="428"/>
                  <a:pt x="76" y="433"/>
                  <a:pt x="80" y="437"/>
                </a:cubicBezTo>
                <a:cubicBezTo>
                  <a:pt x="84" y="441"/>
                  <a:pt x="89" y="443"/>
                  <a:pt x="94" y="443"/>
                </a:cubicBezTo>
                <a:cubicBezTo>
                  <a:pt x="100" y="443"/>
                  <a:pt x="104" y="441"/>
                  <a:pt x="108" y="437"/>
                </a:cubicBezTo>
                <a:cubicBezTo>
                  <a:pt x="112" y="433"/>
                  <a:pt x="114" y="428"/>
                  <a:pt x="114" y="423"/>
                </a:cubicBezTo>
                <a:cubicBezTo>
                  <a:pt x="114" y="418"/>
                  <a:pt x="112" y="413"/>
                  <a:pt x="108" y="409"/>
                </a:cubicBezTo>
                <a:cubicBezTo>
                  <a:pt x="104" y="405"/>
                  <a:pt x="100" y="403"/>
                  <a:pt x="94" y="403"/>
                </a:cubicBezTo>
                <a:cubicBezTo>
                  <a:pt x="89" y="403"/>
                  <a:pt x="84" y="405"/>
                  <a:pt x="80" y="409"/>
                </a:cubicBezTo>
                <a:close/>
                <a:moveTo>
                  <a:pt x="277" y="240"/>
                </a:moveTo>
                <a:cubicBezTo>
                  <a:pt x="249" y="213"/>
                  <a:pt x="235" y="180"/>
                  <a:pt x="235" y="141"/>
                </a:cubicBezTo>
                <a:cubicBezTo>
                  <a:pt x="235" y="102"/>
                  <a:pt x="249" y="69"/>
                  <a:pt x="277" y="41"/>
                </a:cubicBezTo>
                <a:cubicBezTo>
                  <a:pt x="304" y="13"/>
                  <a:pt x="338" y="0"/>
                  <a:pt x="376" y="0"/>
                </a:cubicBezTo>
                <a:cubicBezTo>
                  <a:pt x="389" y="0"/>
                  <a:pt x="401" y="1"/>
                  <a:pt x="415" y="5"/>
                </a:cubicBezTo>
                <a:cubicBezTo>
                  <a:pt x="428" y="8"/>
                  <a:pt x="439" y="13"/>
                  <a:pt x="449" y="19"/>
                </a:cubicBezTo>
                <a:cubicBezTo>
                  <a:pt x="452" y="22"/>
                  <a:pt x="454" y="25"/>
                  <a:pt x="454" y="28"/>
                </a:cubicBezTo>
                <a:cubicBezTo>
                  <a:pt x="454" y="32"/>
                  <a:pt x="452" y="35"/>
                  <a:pt x="449" y="37"/>
                </a:cubicBezTo>
                <a:lnTo>
                  <a:pt x="356" y="90"/>
                </a:lnTo>
                <a:lnTo>
                  <a:pt x="356" y="161"/>
                </a:lnTo>
                <a:lnTo>
                  <a:pt x="417" y="195"/>
                </a:lnTo>
                <a:cubicBezTo>
                  <a:pt x="418" y="194"/>
                  <a:pt x="426" y="189"/>
                  <a:pt x="442" y="179"/>
                </a:cubicBezTo>
                <a:cubicBezTo>
                  <a:pt x="457" y="170"/>
                  <a:pt x="472" y="161"/>
                  <a:pt x="485" y="154"/>
                </a:cubicBezTo>
                <a:cubicBezTo>
                  <a:pt x="498" y="146"/>
                  <a:pt x="505" y="143"/>
                  <a:pt x="507" y="143"/>
                </a:cubicBezTo>
                <a:cubicBezTo>
                  <a:pt x="510" y="143"/>
                  <a:pt x="512" y="144"/>
                  <a:pt x="514" y="146"/>
                </a:cubicBezTo>
                <a:cubicBezTo>
                  <a:pt x="516" y="148"/>
                  <a:pt x="517" y="151"/>
                  <a:pt x="517" y="154"/>
                </a:cubicBezTo>
                <a:cubicBezTo>
                  <a:pt x="517" y="162"/>
                  <a:pt x="514" y="173"/>
                  <a:pt x="510" y="187"/>
                </a:cubicBezTo>
                <a:cubicBezTo>
                  <a:pt x="500" y="215"/>
                  <a:pt x="483" y="238"/>
                  <a:pt x="458" y="256"/>
                </a:cubicBezTo>
                <a:cubicBezTo>
                  <a:pt x="433" y="273"/>
                  <a:pt x="406" y="282"/>
                  <a:pt x="376" y="282"/>
                </a:cubicBezTo>
                <a:cubicBezTo>
                  <a:pt x="338" y="282"/>
                  <a:pt x="304" y="268"/>
                  <a:pt x="277" y="240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Freeform 203"/>
          <p:cNvSpPr>
            <a:spLocks noEditPoints="1"/>
          </p:cNvSpPr>
          <p:nvPr/>
        </p:nvSpPr>
        <p:spPr bwMode="auto">
          <a:xfrm>
            <a:off x="2012717" y="3244282"/>
            <a:ext cx="119795" cy="118435"/>
          </a:xfrm>
          <a:custGeom>
            <a:avLst/>
            <a:gdLst>
              <a:gd name="T0" fmla="*/ 0 w 517"/>
              <a:gd name="T1" fmla="*/ 443 h 517"/>
              <a:gd name="T2" fmla="*/ 12 w 517"/>
              <a:gd name="T3" fmla="*/ 414 h 517"/>
              <a:gd name="T4" fmla="*/ 226 w 517"/>
              <a:gd name="T5" fmla="*/ 200 h 517"/>
              <a:gd name="T6" fmla="*/ 263 w 517"/>
              <a:gd name="T7" fmla="*/ 255 h 517"/>
              <a:gd name="T8" fmla="*/ 317 w 517"/>
              <a:gd name="T9" fmla="*/ 291 h 517"/>
              <a:gd name="T10" fmla="*/ 102 w 517"/>
              <a:gd name="T11" fmla="*/ 505 h 517"/>
              <a:gd name="T12" fmla="*/ 74 w 517"/>
              <a:gd name="T13" fmla="*/ 517 h 517"/>
              <a:gd name="T14" fmla="*/ 45 w 517"/>
              <a:gd name="T15" fmla="*/ 505 h 517"/>
              <a:gd name="T16" fmla="*/ 12 w 517"/>
              <a:gd name="T17" fmla="*/ 471 h 517"/>
              <a:gd name="T18" fmla="*/ 0 w 517"/>
              <a:gd name="T19" fmla="*/ 443 h 517"/>
              <a:gd name="T20" fmla="*/ 80 w 517"/>
              <a:gd name="T21" fmla="*/ 409 h 517"/>
              <a:gd name="T22" fmla="*/ 74 w 517"/>
              <a:gd name="T23" fmla="*/ 423 h 517"/>
              <a:gd name="T24" fmla="*/ 80 w 517"/>
              <a:gd name="T25" fmla="*/ 437 h 517"/>
              <a:gd name="T26" fmla="*/ 94 w 517"/>
              <a:gd name="T27" fmla="*/ 443 h 517"/>
              <a:gd name="T28" fmla="*/ 108 w 517"/>
              <a:gd name="T29" fmla="*/ 437 h 517"/>
              <a:gd name="T30" fmla="*/ 114 w 517"/>
              <a:gd name="T31" fmla="*/ 423 h 517"/>
              <a:gd name="T32" fmla="*/ 108 w 517"/>
              <a:gd name="T33" fmla="*/ 409 h 517"/>
              <a:gd name="T34" fmla="*/ 94 w 517"/>
              <a:gd name="T35" fmla="*/ 403 h 517"/>
              <a:gd name="T36" fmla="*/ 80 w 517"/>
              <a:gd name="T37" fmla="*/ 409 h 517"/>
              <a:gd name="T38" fmla="*/ 277 w 517"/>
              <a:gd name="T39" fmla="*/ 240 h 517"/>
              <a:gd name="T40" fmla="*/ 235 w 517"/>
              <a:gd name="T41" fmla="*/ 141 h 517"/>
              <a:gd name="T42" fmla="*/ 277 w 517"/>
              <a:gd name="T43" fmla="*/ 41 h 517"/>
              <a:gd name="T44" fmla="*/ 376 w 517"/>
              <a:gd name="T45" fmla="*/ 0 h 517"/>
              <a:gd name="T46" fmla="*/ 415 w 517"/>
              <a:gd name="T47" fmla="*/ 5 h 517"/>
              <a:gd name="T48" fmla="*/ 449 w 517"/>
              <a:gd name="T49" fmla="*/ 19 h 517"/>
              <a:gd name="T50" fmla="*/ 454 w 517"/>
              <a:gd name="T51" fmla="*/ 28 h 517"/>
              <a:gd name="T52" fmla="*/ 449 w 517"/>
              <a:gd name="T53" fmla="*/ 37 h 517"/>
              <a:gd name="T54" fmla="*/ 356 w 517"/>
              <a:gd name="T55" fmla="*/ 90 h 517"/>
              <a:gd name="T56" fmla="*/ 356 w 517"/>
              <a:gd name="T57" fmla="*/ 161 h 517"/>
              <a:gd name="T58" fmla="*/ 417 w 517"/>
              <a:gd name="T59" fmla="*/ 195 h 517"/>
              <a:gd name="T60" fmla="*/ 442 w 517"/>
              <a:gd name="T61" fmla="*/ 179 h 517"/>
              <a:gd name="T62" fmla="*/ 485 w 517"/>
              <a:gd name="T63" fmla="*/ 154 h 517"/>
              <a:gd name="T64" fmla="*/ 507 w 517"/>
              <a:gd name="T65" fmla="*/ 143 h 517"/>
              <a:gd name="T66" fmla="*/ 514 w 517"/>
              <a:gd name="T67" fmla="*/ 146 h 517"/>
              <a:gd name="T68" fmla="*/ 517 w 517"/>
              <a:gd name="T69" fmla="*/ 154 h 517"/>
              <a:gd name="T70" fmla="*/ 510 w 517"/>
              <a:gd name="T71" fmla="*/ 187 h 517"/>
              <a:gd name="T72" fmla="*/ 458 w 517"/>
              <a:gd name="T73" fmla="*/ 256 h 517"/>
              <a:gd name="T74" fmla="*/ 376 w 517"/>
              <a:gd name="T75" fmla="*/ 282 h 517"/>
              <a:gd name="T76" fmla="*/ 277 w 517"/>
              <a:gd name="T77" fmla="*/ 24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7" h="517">
                <a:moveTo>
                  <a:pt x="0" y="443"/>
                </a:moveTo>
                <a:cubicBezTo>
                  <a:pt x="0" y="432"/>
                  <a:pt x="4" y="422"/>
                  <a:pt x="12" y="414"/>
                </a:cubicBezTo>
                <a:lnTo>
                  <a:pt x="226" y="200"/>
                </a:lnTo>
                <a:cubicBezTo>
                  <a:pt x="235" y="221"/>
                  <a:pt x="247" y="239"/>
                  <a:pt x="263" y="255"/>
                </a:cubicBezTo>
                <a:cubicBezTo>
                  <a:pt x="278" y="270"/>
                  <a:pt x="297" y="282"/>
                  <a:pt x="317" y="291"/>
                </a:cubicBezTo>
                <a:lnTo>
                  <a:pt x="102" y="505"/>
                </a:lnTo>
                <a:cubicBezTo>
                  <a:pt x="95" y="513"/>
                  <a:pt x="85" y="517"/>
                  <a:pt x="74" y="517"/>
                </a:cubicBezTo>
                <a:cubicBezTo>
                  <a:pt x="63" y="517"/>
                  <a:pt x="54" y="513"/>
                  <a:pt x="45" y="505"/>
                </a:cubicBezTo>
                <a:lnTo>
                  <a:pt x="12" y="471"/>
                </a:lnTo>
                <a:cubicBezTo>
                  <a:pt x="4" y="464"/>
                  <a:pt x="0" y="454"/>
                  <a:pt x="0" y="443"/>
                </a:cubicBezTo>
                <a:close/>
                <a:moveTo>
                  <a:pt x="80" y="409"/>
                </a:moveTo>
                <a:cubicBezTo>
                  <a:pt x="76" y="413"/>
                  <a:pt x="74" y="418"/>
                  <a:pt x="74" y="423"/>
                </a:cubicBezTo>
                <a:cubicBezTo>
                  <a:pt x="74" y="428"/>
                  <a:pt x="76" y="433"/>
                  <a:pt x="80" y="437"/>
                </a:cubicBezTo>
                <a:cubicBezTo>
                  <a:pt x="84" y="441"/>
                  <a:pt x="89" y="443"/>
                  <a:pt x="94" y="443"/>
                </a:cubicBezTo>
                <a:cubicBezTo>
                  <a:pt x="100" y="443"/>
                  <a:pt x="104" y="441"/>
                  <a:pt x="108" y="437"/>
                </a:cubicBezTo>
                <a:cubicBezTo>
                  <a:pt x="112" y="433"/>
                  <a:pt x="114" y="428"/>
                  <a:pt x="114" y="423"/>
                </a:cubicBezTo>
                <a:cubicBezTo>
                  <a:pt x="114" y="418"/>
                  <a:pt x="112" y="413"/>
                  <a:pt x="108" y="409"/>
                </a:cubicBezTo>
                <a:cubicBezTo>
                  <a:pt x="104" y="405"/>
                  <a:pt x="100" y="403"/>
                  <a:pt x="94" y="403"/>
                </a:cubicBezTo>
                <a:cubicBezTo>
                  <a:pt x="89" y="403"/>
                  <a:pt x="84" y="405"/>
                  <a:pt x="80" y="409"/>
                </a:cubicBezTo>
                <a:close/>
                <a:moveTo>
                  <a:pt x="277" y="240"/>
                </a:moveTo>
                <a:cubicBezTo>
                  <a:pt x="249" y="213"/>
                  <a:pt x="235" y="180"/>
                  <a:pt x="235" y="141"/>
                </a:cubicBezTo>
                <a:cubicBezTo>
                  <a:pt x="235" y="102"/>
                  <a:pt x="249" y="69"/>
                  <a:pt x="277" y="41"/>
                </a:cubicBezTo>
                <a:cubicBezTo>
                  <a:pt x="304" y="13"/>
                  <a:pt x="338" y="0"/>
                  <a:pt x="376" y="0"/>
                </a:cubicBezTo>
                <a:cubicBezTo>
                  <a:pt x="389" y="0"/>
                  <a:pt x="401" y="1"/>
                  <a:pt x="415" y="5"/>
                </a:cubicBezTo>
                <a:cubicBezTo>
                  <a:pt x="428" y="8"/>
                  <a:pt x="439" y="13"/>
                  <a:pt x="449" y="19"/>
                </a:cubicBezTo>
                <a:cubicBezTo>
                  <a:pt x="452" y="22"/>
                  <a:pt x="454" y="25"/>
                  <a:pt x="454" y="28"/>
                </a:cubicBezTo>
                <a:cubicBezTo>
                  <a:pt x="454" y="32"/>
                  <a:pt x="452" y="35"/>
                  <a:pt x="449" y="37"/>
                </a:cubicBezTo>
                <a:lnTo>
                  <a:pt x="356" y="90"/>
                </a:lnTo>
                <a:lnTo>
                  <a:pt x="356" y="161"/>
                </a:lnTo>
                <a:lnTo>
                  <a:pt x="417" y="195"/>
                </a:lnTo>
                <a:cubicBezTo>
                  <a:pt x="418" y="194"/>
                  <a:pt x="426" y="189"/>
                  <a:pt x="442" y="179"/>
                </a:cubicBezTo>
                <a:cubicBezTo>
                  <a:pt x="457" y="170"/>
                  <a:pt x="472" y="161"/>
                  <a:pt x="485" y="154"/>
                </a:cubicBezTo>
                <a:cubicBezTo>
                  <a:pt x="498" y="146"/>
                  <a:pt x="505" y="143"/>
                  <a:pt x="507" y="143"/>
                </a:cubicBezTo>
                <a:cubicBezTo>
                  <a:pt x="510" y="143"/>
                  <a:pt x="512" y="144"/>
                  <a:pt x="514" y="146"/>
                </a:cubicBezTo>
                <a:cubicBezTo>
                  <a:pt x="516" y="148"/>
                  <a:pt x="517" y="151"/>
                  <a:pt x="517" y="154"/>
                </a:cubicBezTo>
                <a:cubicBezTo>
                  <a:pt x="517" y="162"/>
                  <a:pt x="514" y="173"/>
                  <a:pt x="510" y="187"/>
                </a:cubicBezTo>
                <a:cubicBezTo>
                  <a:pt x="500" y="215"/>
                  <a:pt x="483" y="238"/>
                  <a:pt x="458" y="256"/>
                </a:cubicBezTo>
                <a:cubicBezTo>
                  <a:pt x="433" y="273"/>
                  <a:pt x="406" y="282"/>
                  <a:pt x="376" y="282"/>
                </a:cubicBezTo>
                <a:cubicBezTo>
                  <a:pt x="338" y="282"/>
                  <a:pt x="304" y="268"/>
                  <a:pt x="277" y="240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Freeform 58"/>
          <p:cNvSpPr>
            <a:spLocks noEditPoints="1"/>
          </p:cNvSpPr>
          <p:nvPr/>
        </p:nvSpPr>
        <p:spPr bwMode="auto">
          <a:xfrm>
            <a:off x="4587474" y="2286814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Freeform 45"/>
          <p:cNvSpPr>
            <a:spLocks/>
          </p:cNvSpPr>
          <p:nvPr/>
        </p:nvSpPr>
        <p:spPr bwMode="auto">
          <a:xfrm>
            <a:off x="4587474" y="2157081"/>
            <a:ext cx="106874" cy="102071"/>
          </a:xfrm>
          <a:custGeom>
            <a:avLst/>
            <a:gdLst>
              <a:gd name="T0" fmla="*/ 0 w 525"/>
              <a:gd name="T1" fmla="*/ 194 h 500"/>
              <a:gd name="T2" fmla="*/ 18 w 525"/>
              <a:gd name="T3" fmla="*/ 179 h 500"/>
              <a:gd name="T4" fmla="*/ 176 w 525"/>
              <a:gd name="T5" fmla="*/ 156 h 500"/>
              <a:gd name="T6" fmla="*/ 247 w 525"/>
              <a:gd name="T7" fmla="*/ 13 h 500"/>
              <a:gd name="T8" fmla="*/ 263 w 525"/>
              <a:gd name="T9" fmla="*/ 0 h 500"/>
              <a:gd name="T10" fmla="*/ 278 w 525"/>
              <a:gd name="T11" fmla="*/ 13 h 500"/>
              <a:gd name="T12" fmla="*/ 349 w 525"/>
              <a:gd name="T13" fmla="*/ 156 h 500"/>
              <a:gd name="T14" fmla="*/ 507 w 525"/>
              <a:gd name="T15" fmla="*/ 179 h 500"/>
              <a:gd name="T16" fmla="*/ 525 w 525"/>
              <a:gd name="T17" fmla="*/ 194 h 500"/>
              <a:gd name="T18" fmla="*/ 516 w 525"/>
              <a:gd name="T19" fmla="*/ 209 h 500"/>
              <a:gd name="T20" fmla="*/ 402 w 525"/>
              <a:gd name="T21" fmla="*/ 321 h 500"/>
              <a:gd name="T22" fmla="*/ 429 w 525"/>
              <a:gd name="T23" fmla="*/ 478 h 500"/>
              <a:gd name="T24" fmla="*/ 429 w 525"/>
              <a:gd name="T25" fmla="*/ 484 h 500"/>
              <a:gd name="T26" fmla="*/ 426 w 525"/>
              <a:gd name="T27" fmla="*/ 495 h 500"/>
              <a:gd name="T28" fmla="*/ 417 w 525"/>
              <a:gd name="T29" fmla="*/ 500 h 500"/>
              <a:gd name="T30" fmla="*/ 404 w 525"/>
              <a:gd name="T31" fmla="*/ 496 h 500"/>
              <a:gd name="T32" fmla="*/ 263 w 525"/>
              <a:gd name="T33" fmla="*/ 422 h 500"/>
              <a:gd name="T34" fmla="*/ 121 w 525"/>
              <a:gd name="T35" fmla="*/ 496 h 500"/>
              <a:gd name="T36" fmla="*/ 109 w 525"/>
              <a:gd name="T37" fmla="*/ 500 h 500"/>
              <a:gd name="T38" fmla="*/ 99 w 525"/>
              <a:gd name="T39" fmla="*/ 495 h 500"/>
              <a:gd name="T40" fmla="*/ 95 w 525"/>
              <a:gd name="T41" fmla="*/ 484 h 500"/>
              <a:gd name="T42" fmla="*/ 96 w 525"/>
              <a:gd name="T43" fmla="*/ 478 h 500"/>
              <a:gd name="T44" fmla="*/ 123 w 525"/>
              <a:gd name="T45" fmla="*/ 321 h 500"/>
              <a:gd name="T46" fmla="*/ 8 w 525"/>
              <a:gd name="T47" fmla="*/ 209 h 500"/>
              <a:gd name="T48" fmla="*/ 0 w 525"/>
              <a:gd name="T49" fmla="*/ 194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25" h="500">
                <a:moveTo>
                  <a:pt x="0" y="194"/>
                </a:moveTo>
                <a:cubicBezTo>
                  <a:pt x="0" y="186"/>
                  <a:pt x="6" y="181"/>
                  <a:pt x="18" y="179"/>
                </a:cubicBezTo>
                <a:lnTo>
                  <a:pt x="176" y="156"/>
                </a:lnTo>
                <a:lnTo>
                  <a:pt x="247" y="13"/>
                </a:lnTo>
                <a:cubicBezTo>
                  <a:pt x="251" y="4"/>
                  <a:pt x="256" y="0"/>
                  <a:pt x="263" y="0"/>
                </a:cubicBezTo>
                <a:cubicBezTo>
                  <a:pt x="269" y="0"/>
                  <a:pt x="274" y="4"/>
                  <a:pt x="278" y="13"/>
                </a:cubicBezTo>
                <a:lnTo>
                  <a:pt x="349" y="156"/>
                </a:lnTo>
                <a:lnTo>
                  <a:pt x="507" y="179"/>
                </a:lnTo>
                <a:cubicBezTo>
                  <a:pt x="519" y="181"/>
                  <a:pt x="525" y="186"/>
                  <a:pt x="525" y="194"/>
                </a:cubicBezTo>
                <a:cubicBezTo>
                  <a:pt x="525" y="199"/>
                  <a:pt x="522" y="204"/>
                  <a:pt x="516" y="209"/>
                </a:cubicBezTo>
                <a:lnTo>
                  <a:pt x="402" y="321"/>
                </a:lnTo>
                <a:lnTo>
                  <a:pt x="429" y="478"/>
                </a:lnTo>
                <a:cubicBezTo>
                  <a:pt x="429" y="479"/>
                  <a:pt x="429" y="482"/>
                  <a:pt x="429" y="484"/>
                </a:cubicBezTo>
                <a:cubicBezTo>
                  <a:pt x="429" y="489"/>
                  <a:pt x="428" y="492"/>
                  <a:pt x="426" y="495"/>
                </a:cubicBezTo>
                <a:cubicBezTo>
                  <a:pt x="424" y="499"/>
                  <a:pt x="421" y="500"/>
                  <a:pt x="417" y="500"/>
                </a:cubicBezTo>
                <a:cubicBezTo>
                  <a:pt x="413" y="500"/>
                  <a:pt x="408" y="499"/>
                  <a:pt x="404" y="496"/>
                </a:cubicBezTo>
                <a:lnTo>
                  <a:pt x="263" y="422"/>
                </a:lnTo>
                <a:lnTo>
                  <a:pt x="121" y="496"/>
                </a:lnTo>
                <a:cubicBezTo>
                  <a:pt x="117" y="499"/>
                  <a:pt x="112" y="500"/>
                  <a:pt x="109" y="500"/>
                </a:cubicBezTo>
                <a:cubicBezTo>
                  <a:pt x="104" y="500"/>
                  <a:pt x="101" y="499"/>
                  <a:pt x="99" y="495"/>
                </a:cubicBezTo>
                <a:cubicBezTo>
                  <a:pt x="96" y="492"/>
                  <a:pt x="95" y="489"/>
                  <a:pt x="95" y="484"/>
                </a:cubicBezTo>
                <a:cubicBezTo>
                  <a:pt x="95" y="483"/>
                  <a:pt x="96" y="481"/>
                  <a:pt x="96" y="478"/>
                </a:cubicBezTo>
                <a:lnTo>
                  <a:pt x="123" y="321"/>
                </a:lnTo>
                <a:lnTo>
                  <a:pt x="8" y="209"/>
                </a:lnTo>
                <a:cubicBezTo>
                  <a:pt x="3" y="203"/>
                  <a:pt x="0" y="198"/>
                  <a:pt x="0" y="194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Freeform 58"/>
          <p:cNvSpPr>
            <a:spLocks noEditPoints="1"/>
          </p:cNvSpPr>
          <p:nvPr/>
        </p:nvSpPr>
        <p:spPr bwMode="auto">
          <a:xfrm>
            <a:off x="4587474" y="2571990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8" name="Freeform 58"/>
          <p:cNvSpPr>
            <a:spLocks noEditPoints="1"/>
          </p:cNvSpPr>
          <p:nvPr/>
        </p:nvSpPr>
        <p:spPr bwMode="auto">
          <a:xfrm>
            <a:off x="4572913" y="3279875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Freeform 58"/>
          <p:cNvSpPr>
            <a:spLocks noEditPoints="1"/>
          </p:cNvSpPr>
          <p:nvPr/>
        </p:nvSpPr>
        <p:spPr bwMode="auto">
          <a:xfrm>
            <a:off x="6424632" y="2838994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Freeform 58"/>
          <p:cNvSpPr>
            <a:spLocks noEditPoints="1"/>
          </p:cNvSpPr>
          <p:nvPr/>
        </p:nvSpPr>
        <p:spPr bwMode="auto">
          <a:xfrm>
            <a:off x="6635752" y="3325942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Freeform 58">
            <a:extLst>
              <a:ext uri="{FF2B5EF4-FFF2-40B4-BE49-F238E27FC236}">
                <a16:creationId xmlns:a16="http://schemas.microsoft.com/office/drawing/2014/main" id="{2461DE80-E0B6-4D75-A712-E29F3912B2B6}"/>
              </a:ext>
            </a:extLst>
          </p:cNvPr>
          <p:cNvSpPr>
            <a:spLocks noEditPoints="1"/>
          </p:cNvSpPr>
          <p:nvPr/>
        </p:nvSpPr>
        <p:spPr bwMode="auto">
          <a:xfrm>
            <a:off x="2186385" y="3119155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Freeform 58">
            <a:extLst>
              <a:ext uri="{FF2B5EF4-FFF2-40B4-BE49-F238E27FC236}">
                <a16:creationId xmlns:a16="http://schemas.microsoft.com/office/drawing/2014/main" id="{06C44050-77A0-42E8-95E3-A6BFE532CF2C}"/>
              </a:ext>
            </a:extLst>
          </p:cNvPr>
          <p:cNvSpPr>
            <a:spLocks noEditPoints="1"/>
          </p:cNvSpPr>
          <p:nvPr/>
        </p:nvSpPr>
        <p:spPr bwMode="auto">
          <a:xfrm>
            <a:off x="2186385" y="3259178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Freeform 58">
            <a:extLst>
              <a:ext uri="{FF2B5EF4-FFF2-40B4-BE49-F238E27FC236}">
                <a16:creationId xmlns:a16="http://schemas.microsoft.com/office/drawing/2014/main" id="{2197BB2F-7CFD-4E71-96DD-13404B52AD80}"/>
              </a:ext>
            </a:extLst>
          </p:cNvPr>
          <p:cNvSpPr>
            <a:spLocks noEditPoints="1"/>
          </p:cNvSpPr>
          <p:nvPr/>
        </p:nvSpPr>
        <p:spPr bwMode="auto">
          <a:xfrm>
            <a:off x="9027477" y="3266201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Freeform 58">
            <a:extLst>
              <a:ext uri="{FF2B5EF4-FFF2-40B4-BE49-F238E27FC236}">
                <a16:creationId xmlns:a16="http://schemas.microsoft.com/office/drawing/2014/main" id="{3915FC2A-E2B3-4E81-AF5C-D68C0BE576BE}"/>
              </a:ext>
            </a:extLst>
          </p:cNvPr>
          <p:cNvSpPr>
            <a:spLocks noEditPoints="1"/>
          </p:cNvSpPr>
          <p:nvPr/>
        </p:nvSpPr>
        <p:spPr bwMode="auto">
          <a:xfrm>
            <a:off x="9027477" y="3406224"/>
            <a:ext cx="111628" cy="111627"/>
          </a:xfrm>
          <a:custGeom>
            <a:avLst/>
            <a:gdLst>
              <a:gd name="T0" fmla="*/ 0 w 484"/>
              <a:gd name="T1" fmla="*/ 207 h 484"/>
              <a:gd name="T2" fmla="*/ 9 w 484"/>
              <a:gd name="T3" fmla="*/ 195 h 484"/>
              <a:gd name="T4" fmla="*/ 79 w 484"/>
              <a:gd name="T5" fmla="*/ 158 h 484"/>
              <a:gd name="T6" fmla="*/ 43 w 484"/>
              <a:gd name="T7" fmla="*/ 107 h 484"/>
              <a:gd name="T8" fmla="*/ 76 w 484"/>
              <a:gd name="T9" fmla="*/ 65 h 484"/>
              <a:gd name="T10" fmla="*/ 114 w 484"/>
              <a:gd name="T11" fmla="*/ 46 h 484"/>
              <a:gd name="T12" fmla="*/ 187 w 484"/>
              <a:gd name="T13" fmla="*/ 68 h 484"/>
              <a:gd name="T14" fmla="*/ 207 w 484"/>
              <a:gd name="T15" fmla="*/ 0 h 484"/>
              <a:gd name="T16" fmla="*/ 285 w 484"/>
              <a:gd name="T17" fmla="*/ 3 h 484"/>
              <a:gd name="T18" fmla="*/ 297 w 484"/>
              <a:gd name="T19" fmla="*/ 68 h 484"/>
              <a:gd name="T20" fmla="*/ 370 w 484"/>
              <a:gd name="T21" fmla="*/ 46 h 484"/>
              <a:gd name="T22" fmla="*/ 386 w 484"/>
              <a:gd name="T23" fmla="*/ 46 h 484"/>
              <a:gd name="T24" fmla="*/ 440 w 484"/>
              <a:gd name="T25" fmla="*/ 107 h 484"/>
              <a:gd name="T26" fmla="*/ 421 w 484"/>
              <a:gd name="T27" fmla="*/ 135 h 484"/>
              <a:gd name="T28" fmla="*/ 417 w 484"/>
              <a:gd name="T29" fmla="*/ 188 h 484"/>
              <a:gd name="T30" fmla="*/ 481 w 484"/>
              <a:gd name="T31" fmla="*/ 201 h 484"/>
              <a:gd name="T32" fmla="*/ 484 w 484"/>
              <a:gd name="T33" fmla="*/ 278 h 484"/>
              <a:gd name="T34" fmla="*/ 475 w 484"/>
              <a:gd name="T35" fmla="*/ 289 h 484"/>
              <a:gd name="T36" fmla="*/ 405 w 484"/>
              <a:gd name="T37" fmla="*/ 327 h 484"/>
              <a:gd name="T38" fmla="*/ 441 w 484"/>
              <a:gd name="T39" fmla="*/ 378 h 484"/>
              <a:gd name="T40" fmla="*/ 407 w 484"/>
              <a:gd name="T41" fmla="*/ 419 h 484"/>
              <a:gd name="T42" fmla="*/ 370 w 484"/>
              <a:gd name="T43" fmla="*/ 439 h 484"/>
              <a:gd name="T44" fmla="*/ 297 w 484"/>
              <a:gd name="T45" fmla="*/ 417 h 484"/>
              <a:gd name="T46" fmla="*/ 277 w 484"/>
              <a:gd name="T47" fmla="*/ 484 h 484"/>
              <a:gd name="T48" fmla="*/ 199 w 484"/>
              <a:gd name="T49" fmla="*/ 482 h 484"/>
              <a:gd name="T50" fmla="*/ 187 w 484"/>
              <a:gd name="T51" fmla="*/ 417 h 484"/>
              <a:gd name="T52" fmla="*/ 114 w 484"/>
              <a:gd name="T53" fmla="*/ 439 h 484"/>
              <a:gd name="T54" fmla="*/ 98 w 484"/>
              <a:gd name="T55" fmla="*/ 438 h 484"/>
              <a:gd name="T56" fmla="*/ 44 w 484"/>
              <a:gd name="T57" fmla="*/ 378 h 484"/>
              <a:gd name="T58" fmla="*/ 63 w 484"/>
              <a:gd name="T59" fmla="*/ 350 h 484"/>
              <a:gd name="T60" fmla="*/ 67 w 484"/>
              <a:gd name="T61" fmla="*/ 296 h 484"/>
              <a:gd name="T62" fmla="*/ 3 w 484"/>
              <a:gd name="T63" fmla="*/ 284 h 484"/>
              <a:gd name="T64" fmla="*/ 185 w 484"/>
              <a:gd name="T65" fmla="*/ 185 h 484"/>
              <a:gd name="T66" fmla="*/ 185 w 484"/>
              <a:gd name="T67" fmla="*/ 299 h 484"/>
              <a:gd name="T68" fmla="*/ 299 w 484"/>
              <a:gd name="T69" fmla="*/ 299 h 484"/>
              <a:gd name="T70" fmla="*/ 299 w 484"/>
              <a:gd name="T71" fmla="*/ 185 h 484"/>
              <a:gd name="T72" fmla="*/ 185 w 484"/>
              <a:gd name="T73" fmla="*/ 185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84" h="484">
                <a:moveTo>
                  <a:pt x="0" y="277"/>
                </a:moveTo>
                <a:lnTo>
                  <a:pt x="0" y="207"/>
                </a:lnTo>
                <a:cubicBezTo>
                  <a:pt x="0" y="204"/>
                  <a:pt x="1" y="202"/>
                  <a:pt x="3" y="199"/>
                </a:cubicBezTo>
                <a:cubicBezTo>
                  <a:pt x="4" y="197"/>
                  <a:pt x="6" y="196"/>
                  <a:pt x="9" y="195"/>
                </a:cubicBezTo>
                <a:lnTo>
                  <a:pt x="67" y="187"/>
                </a:lnTo>
                <a:cubicBezTo>
                  <a:pt x="70" y="177"/>
                  <a:pt x="74" y="167"/>
                  <a:pt x="79" y="158"/>
                </a:cubicBezTo>
                <a:cubicBezTo>
                  <a:pt x="71" y="146"/>
                  <a:pt x="60" y="131"/>
                  <a:pt x="46" y="114"/>
                </a:cubicBezTo>
                <a:cubicBezTo>
                  <a:pt x="44" y="112"/>
                  <a:pt x="43" y="109"/>
                  <a:pt x="43" y="107"/>
                </a:cubicBezTo>
                <a:cubicBezTo>
                  <a:pt x="43" y="104"/>
                  <a:pt x="44" y="102"/>
                  <a:pt x="45" y="99"/>
                </a:cubicBezTo>
                <a:cubicBezTo>
                  <a:pt x="51" y="92"/>
                  <a:pt x="61" y="80"/>
                  <a:pt x="76" y="65"/>
                </a:cubicBezTo>
                <a:cubicBezTo>
                  <a:pt x="92" y="50"/>
                  <a:pt x="102" y="43"/>
                  <a:pt x="106" y="43"/>
                </a:cubicBezTo>
                <a:cubicBezTo>
                  <a:pt x="109" y="43"/>
                  <a:pt x="112" y="44"/>
                  <a:pt x="114" y="46"/>
                </a:cubicBezTo>
                <a:lnTo>
                  <a:pt x="158" y="80"/>
                </a:lnTo>
                <a:cubicBezTo>
                  <a:pt x="167" y="75"/>
                  <a:pt x="177" y="71"/>
                  <a:pt x="187" y="68"/>
                </a:cubicBezTo>
                <a:cubicBezTo>
                  <a:pt x="190" y="39"/>
                  <a:pt x="193" y="20"/>
                  <a:pt x="196" y="9"/>
                </a:cubicBezTo>
                <a:cubicBezTo>
                  <a:pt x="197" y="3"/>
                  <a:pt x="201" y="0"/>
                  <a:pt x="207" y="0"/>
                </a:cubicBezTo>
                <a:lnTo>
                  <a:pt x="277" y="0"/>
                </a:lnTo>
                <a:cubicBezTo>
                  <a:pt x="280" y="0"/>
                  <a:pt x="282" y="1"/>
                  <a:pt x="285" y="3"/>
                </a:cubicBezTo>
                <a:cubicBezTo>
                  <a:pt x="287" y="5"/>
                  <a:pt x="288" y="7"/>
                  <a:pt x="288" y="10"/>
                </a:cubicBezTo>
                <a:lnTo>
                  <a:pt x="297" y="68"/>
                </a:lnTo>
                <a:cubicBezTo>
                  <a:pt x="307" y="71"/>
                  <a:pt x="317" y="75"/>
                  <a:pt x="325" y="79"/>
                </a:cubicBezTo>
                <a:lnTo>
                  <a:pt x="370" y="46"/>
                </a:lnTo>
                <a:cubicBezTo>
                  <a:pt x="372" y="44"/>
                  <a:pt x="375" y="43"/>
                  <a:pt x="378" y="43"/>
                </a:cubicBezTo>
                <a:cubicBezTo>
                  <a:pt x="380" y="43"/>
                  <a:pt x="383" y="44"/>
                  <a:pt x="386" y="46"/>
                </a:cubicBezTo>
                <a:cubicBezTo>
                  <a:pt x="413" y="71"/>
                  <a:pt x="430" y="89"/>
                  <a:pt x="438" y="100"/>
                </a:cubicBezTo>
                <a:cubicBezTo>
                  <a:pt x="439" y="101"/>
                  <a:pt x="440" y="104"/>
                  <a:pt x="440" y="107"/>
                </a:cubicBezTo>
                <a:cubicBezTo>
                  <a:pt x="440" y="109"/>
                  <a:pt x="439" y="111"/>
                  <a:pt x="437" y="114"/>
                </a:cubicBezTo>
                <a:cubicBezTo>
                  <a:pt x="434" y="118"/>
                  <a:pt x="429" y="125"/>
                  <a:pt x="421" y="135"/>
                </a:cubicBezTo>
                <a:cubicBezTo>
                  <a:pt x="414" y="144"/>
                  <a:pt x="408" y="152"/>
                  <a:pt x="404" y="157"/>
                </a:cubicBezTo>
                <a:cubicBezTo>
                  <a:pt x="410" y="167"/>
                  <a:pt x="414" y="178"/>
                  <a:pt x="417" y="188"/>
                </a:cubicBezTo>
                <a:lnTo>
                  <a:pt x="475" y="197"/>
                </a:lnTo>
                <a:cubicBezTo>
                  <a:pt x="477" y="197"/>
                  <a:pt x="480" y="198"/>
                  <a:pt x="481" y="201"/>
                </a:cubicBezTo>
                <a:cubicBezTo>
                  <a:pt x="483" y="203"/>
                  <a:pt x="484" y="205"/>
                  <a:pt x="484" y="208"/>
                </a:cubicBezTo>
                <a:lnTo>
                  <a:pt x="484" y="278"/>
                </a:lnTo>
                <a:cubicBezTo>
                  <a:pt x="484" y="280"/>
                  <a:pt x="483" y="283"/>
                  <a:pt x="481" y="285"/>
                </a:cubicBezTo>
                <a:cubicBezTo>
                  <a:pt x="480" y="287"/>
                  <a:pt x="478" y="289"/>
                  <a:pt x="475" y="289"/>
                </a:cubicBezTo>
                <a:lnTo>
                  <a:pt x="417" y="298"/>
                </a:lnTo>
                <a:cubicBezTo>
                  <a:pt x="413" y="309"/>
                  <a:pt x="409" y="319"/>
                  <a:pt x="405" y="327"/>
                </a:cubicBezTo>
                <a:cubicBezTo>
                  <a:pt x="412" y="337"/>
                  <a:pt x="423" y="352"/>
                  <a:pt x="438" y="370"/>
                </a:cubicBezTo>
                <a:cubicBezTo>
                  <a:pt x="440" y="373"/>
                  <a:pt x="441" y="375"/>
                  <a:pt x="441" y="378"/>
                </a:cubicBezTo>
                <a:cubicBezTo>
                  <a:pt x="441" y="381"/>
                  <a:pt x="440" y="383"/>
                  <a:pt x="439" y="385"/>
                </a:cubicBezTo>
                <a:cubicBezTo>
                  <a:pt x="433" y="393"/>
                  <a:pt x="422" y="404"/>
                  <a:pt x="407" y="419"/>
                </a:cubicBezTo>
                <a:cubicBezTo>
                  <a:pt x="392" y="434"/>
                  <a:pt x="382" y="442"/>
                  <a:pt x="378" y="442"/>
                </a:cubicBezTo>
                <a:cubicBezTo>
                  <a:pt x="375" y="442"/>
                  <a:pt x="373" y="441"/>
                  <a:pt x="370" y="439"/>
                </a:cubicBezTo>
                <a:lnTo>
                  <a:pt x="326" y="405"/>
                </a:lnTo>
                <a:cubicBezTo>
                  <a:pt x="317" y="410"/>
                  <a:pt x="307" y="414"/>
                  <a:pt x="297" y="417"/>
                </a:cubicBezTo>
                <a:cubicBezTo>
                  <a:pt x="294" y="445"/>
                  <a:pt x="291" y="465"/>
                  <a:pt x="288" y="475"/>
                </a:cubicBezTo>
                <a:cubicBezTo>
                  <a:pt x="287" y="481"/>
                  <a:pt x="283" y="484"/>
                  <a:pt x="277" y="484"/>
                </a:cubicBezTo>
                <a:lnTo>
                  <a:pt x="207" y="484"/>
                </a:lnTo>
                <a:cubicBezTo>
                  <a:pt x="204" y="484"/>
                  <a:pt x="202" y="483"/>
                  <a:pt x="199" y="482"/>
                </a:cubicBezTo>
                <a:cubicBezTo>
                  <a:pt x="197" y="480"/>
                  <a:pt x="196" y="478"/>
                  <a:pt x="196" y="475"/>
                </a:cubicBezTo>
                <a:lnTo>
                  <a:pt x="187" y="417"/>
                </a:lnTo>
                <a:cubicBezTo>
                  <a:pt x="177" y="413"/>
                  <a:pt x="167" y="410"/>
                  <a:pt x="159" y="405"/>
                </a:cubicBezTo>
                <a:lnTo>
                  <a:pt x="114" y="439"/>
                </a:lnTo>
                <a:cubicBezTo>
                  <a:pt x="112" y="441"/>
                  <a:pt x="109" y="442"/>
                  <a:pt x="106" y="442"/>
                </a:cubicBezTo>
                <a:cubicBezTo>
                  <a:pt x="103" y="442"/>
                  <a:pt x="101" y="441"/>
                  <a:pt x="98" y="438"/>
                </a:cubicBezTo>
                <a:cubicBezTo>
                  <a:pt x="72" y="414"/>
                  <a:pt x="55" y="397"/>
                  <a:pt x="46" y="385"/>
                </a:cubicBezTo>
                <a:cubicBezTo>
                  <a:pt x="45" y="383"/>
                  <a:pt x="44" y="381"/>
                  <a:pt x="44" y="378"/>
                </a:cubicBezTo>
                <a:cubicBezTo>
                  <a:pt x="44" y="376"/>
                  <a:pt x="45" y="373"/>
                  <a:pt x="47" y="371"/>
                </a:cubicBezTo>
                <a:cubicBezTo>
                  <a:pt x="50" y="366"/>
                  <a:pt x="55" y="359"/>
                  <a:pt x="63" y="350"/>
                </a:cubicBezTo>
                <a:cubicBezTo>
                  <a:pt x="70" y="340"/>
                  <a:pt x="76" y="333"/>
                  <a:pt x="80" y="328"/>
                </a:cubicBezTo>
                <a:cubicBezTo>
                  <a:pt x="74" y="317"/>
                  <a:pt x="70" y="307"/>
                  <a:pt x="67" y="296"/>
                </a:cubicBezTo>
                <a:lnTo>
                  <a:pt x="9" y="288"/>
                </a:lnTo>
                <a:cubicBezTo>
                  <a:pt x="7" y="288"/>
                  <a:pt x="4" y="286"/>
                  <a:pt x="3" y="284"/>
                </a:cubicBezTo>
                <a:cubicBezTo>
                  <a:pt x="1" y="282"/>
                  <a:pt x="0" y="279"/>
                  <a:pt x="0" y="277"/>
                </a:cubicBezTo>
                <a:close/>
                <a:moveTo>
                  <a:pt x="185" y="185"/>
                </a:moveTo>
                <a:cubicBezTo>
                  <a:pt x="169" y="201"/>
                  <a:pt x="161" y="220"/>
                  <a:pt x="161" y="242"/>
                </a:cubicBezTo>
                <a:cubicBezTo>
                  <a:pt x="161" y="265"/>
                  <a:pt x="169" y="284"/>
                  <a:pt x="185" y="299"/>
                </a:cubicBezTo>
                <a:cubicBezTo>
                  <a:pt x="201" y="315"/>
                  <a:pt x="220" y="323"/>
                  <a:pt x="242" y="323"/>
                </a:cubicBezTo>
                <a:cubicBezTo>
                  <a:pt x="264" y="323"/>
                  <a:pt x="283" y="315"/>
                  <a:pt x="299" y="299"/>
                </a:cubicBezTo>
                <a:cubicBezTo>
                  <a:pt x="315" y="284"/>
                  <a:pt x="323" y="265"/>
                  <a:pt x="323" y="242"/>
                </a:cubicBezTo>
                <a:cubicBezTo>
                  <a:pt x="323" y="220"/>
                  <a:pt x="315" y="201"/>
                  <a:pt x="299" y="185"/>
                </a:cubicBezTo>
                <a:cubicBezTo>
                  <a:pt x="283" y="170"/>
                  <a:pt x="264" y="162"/>
                  <a:pt x="242" y="162"/>
                </a:cubicBezTo>
                <a:cubicBezTo>
                  <a:pt x="220" y="162"/>
                  <a:pt x="201" y="170"/>
                  <a:pt x="185" y="185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8060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2698CA-B83B-44A0-8642-9301E38ADE26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237600" y="1746000"/>
            <a:ext cx="11737975" cy="2215991"/>
          </a:xfrm>
        </p:spPr>
        <p:txBody>
          <a:bodyPr/>
          <a:lstStyle/>
          <a:p>
            <a:r>
              <a:rPr lang="en-GB"/>
              <a:t>Iasi</a:t>
            </a:r>
            <a:br>
              <a:rPr lang="en-GB"/>
            </a:br>
            <a:r>
              <a:rPr lang="en-GB"/>
              <a:t>Romania</a:t>
            </a:r>
          </a:p>
        </p:txBody>
      </p:sp>
      <p:pic>
        <p:nvPicPr>
          <p:cNvPr id="3" name="Picture Placeholder 6" descr="A group of people walking in front of a building&#10;&#10;Description generated with very high confidence">
            <a:extLst>
              <a:ext uri="{FF2B5EF4-FFF2-40B4-BE49-F238E27FC236}">
                <a16:creationId xmlns:a16="http://schemas.microsoft.com/office/drawing/2014/main" id="{C4D2AEB6-7C49-41E7-B9F6-80E649EE37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88" b="-200608"/>
          <a:stretch/>
        </p:blipFill>
        <p:spPr>
          <a:xfrm>
            <a:off x="0" y="4368734"/>
            <a:ext cx="12276000" cy="74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0364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72AD4C6-7246-44EE-924D-6E710EF57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" y="144000"/>
            <a:ext cx="11727388" cy="443198"/>
          </a:xfrm>
        </p:spPr>
        <p:txBody>
          <a:bodyPr/>
          <a:lstStyle/>
          <a:p>
            <a:r>
              <a:rPr lang="en-US" dirty="0"/>
              <a:t>Osram Continental Romania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8C8A08-DD15-4E3C-A359-D2F360592C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ddress: </a:t>
            </a:r>
            <a:r>
              <a:rPr lang="en-US" dirty="0" err="1"/>
              <a:t>Calea</a:t>
            </a:r>
            <a:r>
              <a:rPr lang="en-US" dirty="0"/>
              <a:t> </a:t>
            </a:r>
            <a:r>
              <a:rPr lang="en-US" dirty="0" err="1"/>
              <a:t>Chisinaului</a:t>
            </a:r>
            <a:r>
              <a:rPr lang="en-US" dirty="0"/>
              <a:t> 26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9" name="Picture Placeholder 8" descr="A picture containing text, map&#10;&#10;Description generated with very high confidence">
            <a:extLst>
              <a:ext uri="{FF2B5EF4-FFF2-40B4-BE49-F238E27FC236}">
                <a16:creationId xmlns:a16="http://schemas.microsoft.com/office/drawing/2014/main" id="{7A6F0C06-CE96-44D7-9342-13EC5A810F3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12537" r="12537"/>
          <a:stretch>
            <a:fillRect/>
          </a:stretch>
        </p:blipFill>
        <p:spPr/>
      </p:pic>
      <p:pic>
        <p:nvPicPr>
          <p:cNvPr id="12" name="Picture Placeholder 11" descr="A tall building&#10;&#10;Description automatically generated">
            <a:extLst>
              <a:ext uri="{FF2B5EF4-FFF2-40B4-BE49-F238E27FC236}">
                <a16:creationId xmlns:a16="http://schemas.microsoft.com/office/drawing/2014/main" id="{F3C7B9EB-5F52-4D0B-8A40-4711B524A609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3"/>
          <a:srcRect l="3442" r="31836"/>
          <a:stretch/>
        </p:blipFill>
        <p:spPr>
          <a:xfrm>
            <a:off x="8199344" y="1736726"/>
            <a:ext cx="3785658" cy="4679950"/>
          </a:xfrm>
        </p:spPr>
      </p:pic>
    </p:spTree>
    <p:extLst>
      <p:ext uri="{BB962C8B-B14F-4D97-AF65-F5344CB8AC3E}">
        <p14:creationId xmlns:p14="http://schemas.microsoft.com/office/powerpoint/2010/main" val="333141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0F745B55-3164-48C0-A653-3F7E0C927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" y="142750"/>
            <a:ext cx="11727388" cy="443198"/>
          </a:xfrm>
        </p:spPr>
        <p:txBody>
          <a:bodyPr/>
          <a:lstStyle/>
          <a:p>
            <a:r>
              <a:rPr lang="en-US"/>
              <a:t>Iasi office building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1536FF-1F44-4D7D-A5D6-D4C9CADDD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381ED-541D-4EC8-87B0-7ECDF90D21F2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276FE4E-8B7F-468A-BE90-922AD8B10E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6800" y="581950"/>
            <a:ext cx="11737975" cy="443198"/>
          </a:xfrm>
        </p:spPr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C2863BB-6C1F-4003-9C4C-7B79DE7B73E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3 FLOORS AVAILABLE FOR RD AND SUPPORT FUNCTIONS</a:t>
            </a:r>
          </a:p>
          <a:p>
            <a:endParaRPr lang="en-US"/>
          </a:p>
          <a:p>
            <a:r>
              <a:rPr lang="en-US"/>
              <a:t>EXTENSION PLANNED FOR GARAGE ON THE GROUND FLOOR</a:t>
            </a:r>
          </a:p>
          <a:p>
            <a:endParaRPr lang="en-GB"/>
          </a:p>
          <a:p>
            <a:r>
              <a:rPr lang="en-US"/>
              <a:t>LABORATORIES FOR HARDWARE TESTING (BASIC FUNCTIONS) AND TESTBENCHES </a:t>
            </a:r>
            <a:endParaRPr lang="en-GB"/>
          </a:p>
        </p:txBody>
      </p:sp>
      <p:pic>
        <p:nvPicPr>
          <p:cNvPr id="17" name="Picture 6" descr="https://scontent.fmuc2-1.fna.fbcdn.net/v/t1.15752-9/s2048x2048/52051135_416000849147376_3493395204495376384_n.jpg?_nc_cat=105&amp;_nc_ht=scontent.fmuc2-1.fna&amp;oh=834503dabf5e5424ba458ceaa164bc3a&amp;oe=5CF815C3">
            <a:extLst>
              <a:ext uri="{FF2B5EF4-FFF2-40B4-BE49-F238E27FC236}">
                <a16:creationId xmlns:a16="http://schemas.microsoft.com/office/drawing/2014/main" id="{6CB91A99-BAA5-4551-B185-B79F8B1714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1252" y="4174170"/>
            <a:ext cx="5773950" cy="224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https://scontent.fmuc2-1.fna.fbcdn.net/v/t1.15752-9/s2048x2048/52013908_604294256699307_795010214699991040_n.jpg?_nc_cat=102&amp;_nc_ht=scontent.fmuc2-1.fna&amp;oh=4029a3a300d0ff9831ca638a1586a949&amp;oe=5CEAABB8">
            <a:extLst>
              <a:ext uri="{FF2B5EF4-FFF2-40B4-BE49-F238E27FC236}">
                <a16:creationId xmlns:a16="http://schemas.microsoft.com/office/drawing/2014/main" id="{FC8C17C3-5158-4A81-92D3-058057226035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Placeholder 10" descr="A sign on the side of a building&#10;&#10;Description automatically generated">
            <a:extLst>
              <a:ext uri="{FF2B5EF4-FFF2-40B4-BE49-F238E27FC236}">
                <a16:creationId xmlns:a16="http://schemas.microsoft.com/office/drawing/2014/main" id="{9A7A2D87-967C-4E69-B4AC-73822A51D0D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/>
          <a:srcRect l="-2" t="21550" r="2" b="26612"/>
          <a:stretch/>
        </p:blipFill>
        <p:spPr>
          <a:xfrm>
            <a:off x="226800" y="1736725"/>
            <a:ext cx="5773950" cy="2244725"/>
          </a:xfrm>
        </p:spPr>
      </p:pic>
    </p:spTree>
    <p:extLst>
      <p:ext uri="{BB962C8B-B14F-4D97-AF65-F5344CB8AC3E}">
        <p14:creationId xmlns:p14="http://schemas.microsoft.com/office/powerpoint/2010/main" val="3244011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R"/>
  <p:tag name="EE4P_MAPWIZARD_HEADINGS" val="Admin 0\Continent\UN Region\UN Sub Region"/>
  <p:tag name="EE4P_MAPWIZARD" val="Brazil\South America\Americas\South Americ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\Continent\UN Region\UN Sub Region"/>
  <p:tag name="EE4P_MAPWIZARD" val="Kosovo\Europe\Europe\Southern Euro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W"/>
  <p:tag name="EE4P_MAPWIZARD_HEADINGS" val="Admin 0\Continent\UN Region\UN Sub Region"/>
  <p:tag name="EE4P_MAPWIZARD" val="Kuwait\Asia\Asia\Western Asi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0\Continent\UN Region\UN Sub Region"/>
  <p:tag name="EE4P_MAPWIZARD" val="Laos\Asia\Asia\South-Eastern As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0\Continent\UN Region\UN Sub Region"/>
  <p:tag name="EE4P_MAPWIZARD" val="Lebanon\Asia\Asia\Western As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0\Continent\UN Region\UN Sub Region"/>
  <p:tag name="EE4P_MAPWIZARD" val="Liberia\Africa\Africa\Western Afric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Y"/>
  <p:tag name="EE4P_MAPWIZARD_HEADINGS" val="Admin 0\Continent\UN Region\UN Sub Region"/>
  <p:tag name="EE4P_MAPWIZARD" val="Libya\Africa\Africa\Northern Afric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K"/>
  <p:tag name="EE4P_MAPWIZARD_HEADINGS" val="Admin 0\Continent\UN Region\UN Sub Region"/>
  <p:tag name="EE4P_MAPWIZARD" val="Sri Lanka\Asia\Asia\Southern Asi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S"/>
  <p:tag name="EE4P_MAPWIZARD_HEADINGS" val="Admin 0\Continent\UN Region\UN Sub Region"/>
  <p:tag name="EE4P_MAPWIZARD" val="Lesotho\Africa\Africa\Southern Afri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\Continent\UN Region\UN Sub Region"/>
  <p:tag name="EE4P_MAPWIZARD" val="Lithuania\Europe\Europe\Northern Europ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\Continent\UN Region\UN Sub Region"/>
  <p:tag name="EE4P_MAPWIZARD" val="Luxembourg\Europe\Europe\Western Euro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0\Continent\UN Region\UN Sub Region"/>
  <p:tag name="EE4P_MAPWIZARD" val="Canada\North America\Americas\Northern Americ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\Continent\UN Region\UN Sub Region"/>
  <p:tag name="EE4P_MAPWIZARD" val="Latvia\Europe\Europe\Northern Euro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0\Continent\UN Region\UN Sub Region"/>
  <p:tag name="EE4P_MAPWIZARD" val="Morocco\Africa\Africa\Northern Afri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\Continent\UN Region\UN Sub Region"/>
  <p:tag name="EE4P_MAPWIZARD" val="Moldova\Europe\Europe\Eastern Euro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G"/>
  <p:tag name="EE4P_MAPWIZARD_HEADINGS" val="Admin 0\Continent\UN Region\UN Sub Region"/>
  <p:tag name="EE4P_MAPWIZARD" val="Madagascar\Africa\Africa\Eastern Afric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\Continent\UN Region\UN Sub Region"/>
  <p:tag name="EE4P_MAPWIZARD" val="Macedonia\Europe\Europe\Southern Europ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0\Continent\UN Region\UN Sub Region"/>
  <p:tag name="EE4P_MAPWIZARD" val="Mali\Africa\Africa\Western Afric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0\Continent\UN Region\UN Sub Region"/>
  <p:tag name="EE4P_MAPWIZARD" val="Myanmar\Asia\Asia\South-Eastern Asi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\Continent\UN Region\UN Sub Region"/>
  <p:tag name="EE4P_MAPWIZARD" val="Montenegro\Europe\Europe\Southern Europ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0\Continent\UN Region\UN Sub Region"/>
  <p:tag name="EE4P_MAPWIZARD" val="Mongolia\Asia\Asia\Eastern Asi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Z"/>
  <p:tag name="EE4P_MAPWIZARD_HEADINGS" val="Admin 0\Continent\UN Region\UN Sub Region"/>
  <p:tag name="EE4P_MAPWIZARD" val="Mozambique\Africa\Africa\Eastern Afri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0\Continent\UN Region\UN Sub Region"/>
  <p:tag name="EE4P_MAPWIZARD" val="Chile\South America\Americas\South Americ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R"/>
  <p:tag name="EE4P_MAPWIZARD_HEADINGS" val="Admin 0\Continent\UN Region\UN Sub Region"/>
  <p:tag name="EE4P_MAPWIZARD" val="Mauritania\Africa\Africa\Western Afri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0\Continent\UN Region\UN Sub Region"/>
  <p:tag name="EE4P_MAPWIZARD" val="Malawi\Africa\Africa\Eastern Afric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0\Continent\UN Region\UN Sub Region"/>
  <p:tag name="EE4P_MAPWIZARD" val="Malaysia\Asia\Asia\South-Eastern Asi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0\Continent\UN Region\UN Sub Region"/>
  <p:tag name="EE4P_MAPWIZARD" val="Namibia\Africa\Africa\Southern Afric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0\Continent\UN Region\UN Sub Region"/>
  <p:tag name="EE4P_MAPWIZARD" val="Niger\Africa\Africa\Western Afri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0\Continent\UN Region\UN Sub Region"/>
  <p:tag name="EE4P_MAPWIZARD" val="Nigeria\Africa\Africa\Western Afri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\Continent\UN Region\UN Sub Region"/>
  <p:tag name="EE4P_MAPWIZARD" val="Netherlands\Europe\Europe\Western Euro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"/>
  <p:tag name="EE4P_MAPWIZARD" val="Norway\Europe\Europe\Northern Europ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0\Continent\UN Region\UN Sub Region"/>
  <p:tag name="EE4P_MAPWIZARD" val="Nepal\Asia\Asia\Southern Asi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Z"/>
  <p:tag name="EE4P_MAPWIZARD_HEADINGS" val="Admin 0\Continent\UN Region\UN Sub Region"/>
  <p:tag name="EE4P_MAPWIZARD" val="New Zealand\Oceania\Oceania\Australia and New Zealan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0\Continent\UN Region\UN Sub Region"/>
  <p:tag name="EE4P_MAPWIZARD" val="Colombia\South America\Americas\South Americ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0\Continent\UN Region\UN Sub Region"/>
  <p:tag name="EE4P_MAPWIZARD" val="Oman\Asia\Asia\Western Asi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K"/>
  <p:tag name="EE4P_MAPWIZARD_HEADINGS" val="Admin 0\Continent\UN Region\UN Sub Region"/>
  <p:tag name="EE4P_MAPWIZARD" val="Pakistan\Asia\Asia\Southern Asi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H"/>
  <p:tag name="EE4P_MAPWIZARD_HEADINGS" val="Admin 0\Continent\UN Region\UN Sub Region"/>
  <p:tag name="EE4P_MAPWIZARD" val="Philippines\Asia\Asia\South-Eastern As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G"/>
  <p:tag name="EE4P_MAPWIZARD_HEADINGS" val="Admin 0\Continent\UN Region\UN Sub Region"/>
  <p:tag name="EE4P_MAPWIZARD" val="Papua New Guinea\Oceania\Oceania\Melanesi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\Continent\UN Region\UN Sub Region"/>
  <p:tag name="EE4P_MAPWIZARD" val="Poland\Europe\Europe\Eastern Euro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P"/>
  <p:tag name="EE4P_MAPWIZARD_HEADINGS" val="Admin 0\Continent\UN Region\UN Sub Region"/>
  <p:tag name="EE4P_MAPWIZARD" val="North Korea\Asia\Asia\Eastern Asi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"/>
  <p:tag name="EE4P_MAPWIZARD" val="Portugal\Europe\Europe\Southern Europ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QA"/>
  <p:tag name="EE4P_MAPWIZARD_HEADINGS" val="Admin 0\Continent\UN Region\UN Sub Region"/>
  <p:tag name="EE4P_MAPWIZARD" val="Qatar\Asia\Asia\Western As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\Continent\UN Region\UN Sub Region"/>
  <p:tag name="EE4P_MAPWIZARD" val="Romania\Europe\Europe\Eastern Europ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\Continent\UN Region\UN Sub Region"/>
  <p:tag name="EE4P_MAPWIZARD" val="Russia\Europe\Europe\Eastern Euro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0\Continent\UN Region\UN Sub Region"/>
  <p:tag name="EE4P_MAPWIZARD" val="Costa Rica\North America\Americas\Central Americ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W"/>
  <p:tag name="EE4P_MAPWIZARD_HEADINGS" val="Admin 0\Continent\UN Region\UN Sub Region"/>
  <p:tag name="EE4P_MAPWIZARD" val="Rwanda\Africa\Africa\Eastern Afric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H"/>
  <p:tag name="EE4P_MAPWIZARD_HEADINGS" val="Admin 0\Continent\UN Region\UN Sub Region"/>
  <p:tag name="EE4P_MAPWIZARD" val="Western Sahara\Africa\Africa\Northern Afri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0\Continent\UN Region\UN Sub Region"/>
  <p:tag name="EE4P_MAPWIZARD" val="Saudi Arabia\Asia\Asia\Western Asi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D"/>
  <p:tag name="EE4P_MAPWIZARD_HEADINGS" val="Admin 0\Continent\UN Region\UN Sub Region"/>
  <p:tag name="EE4P_MAPWIZARD" val="Sudan\Africa\Africa\Northern Afri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0\Continent\UN Region\UN Sub Region"/>
  <p:tag name="EE4P_MAPWIZARD" val="South Sudan\Africa\Africa\Eastern Afric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0\Continent\UN Region\UN Sub Region"/>
  <p:tag name="EE4P_MAPWIZARD" val="Senegal\Africa\Africa\Western Afri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0\Continent\UN Region\UN Sub Region"/>
  <p:tag name="EE4P_MAPWIZARD" val="Solomon Islands\Oceania\Oceania\Melanesi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0\Continent\UN Region\UN Sub Region"/>
  <p:tag name="EE4P_MAPWIZARD" val="Sierra Leone\Africa\Africa\Western Afric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land\Africa\Africa\Eastern Afric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a\Africa\Africa\Eastern Afri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0\Continent\UN Region\UN Sub Region"/>
  <p:tag name="EE4P_MAPWIZARD" val="Cuba\North America\Americas\Caribbea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\Continent\UN Region\UN Sub Region"/>
  <p:tag name="EE4P_MAPWIZARD" val="Republic of Serbia\Europe\Europe\Southern Euro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\Continent\UN Region\UN Sub Region"/>
  <p:tag name="EE4P_MAPWIZARD" val="Slovakia\Europe\Europe\Eastern Europ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\Continent\UN Region\UN Sub Region"/>
  <p:tag name="EE4P_MAPWIZARD" val="Slovenia\Europe\Europe\Southern Europ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\Continent\UN Region\UN Sub Region"/>
  <p:tag name="EE4P_MAPWIZARD" val="Sweden\Europe\Europe\Northern Europ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Z"/>
  <p:tag name="EE4P_MAPWIZARD_HEADINGS" val="Admin 0\Continent\UN Region\UN Sub Region"/>
  <p:tag name="EE4P_MAPWIZARD" val="Swaziland\Africa\Africa\Southern Afric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\Continent\UN Region\UN Sub Region"/>
  <p:tag name="EE4P_MAPWIZARD" val="Syria\Asia\Asia\Western Asi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D"/>
  <p:tag name="EE4P_MAPWIZARD_HEADINGS" val="Admin 0\Continent\UN Region\UN Sub Region"/>
  <p:tag name="EE4P_MAPWIZARD" val="Chad\Africa\Africa\Middle Afric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G"/>
  <p:tag name="EE4P_MAPWIZARD_HEADINGS" val="Admin 0\Continent\UN Region\UN Sub Region"/>
  <p:tag name="EE4P_MAPWIZARD" val="Togo\Africa\Africa\Western Afric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0\Continent\UN Region\UN Sub Region"/>
  <p:tag name="EE4P_MAPWIZARD" val="Thailand\Asia\Asia\South-Eastern Asi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J"/>
  <p:tag name="EE4P_MAPWIZARD_HEADINGS" val="Admin 0\Continent\UN Region\UN Sub Region"/>
  <p:tag name="EE4P_MAPWIZARD" val="Tajikistan\Asia\Asia\Central As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0\Continent\UN Region\UN Sub Region"/>
  <p:tag name="EE4P_MAPWIZARD" val="Dominican Republic\North America\Americas\Caribbea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M"/>
  <p:tag name="EE4P_MAPWIZARD_HEADINGS" val="Admin 0\Continent\UN Region\UN Sub Region"/>
  <p:tag name="EE4P_MAPWIZARD" val="Turkmenistan\Asia\Asia\Central As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L"/>
  <p:tag name="EE4P_MAPWIZARD_HEADINGS" val="Admin 0\Continent\UN Region\UN Sub Region"/>
  <p:tag name="EE4P_MAPWIZARD" val="East Timor\Asia\Asia\South-Eastern As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0\Continent\UN Region\UN Sub Region"/>
  <p:tag name="EE4P_MAPWIZARD" val="Tunisia\Africa\Africa\Northern Afri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\Continent\UN Region\UN Sub Region"/>
  <p:tag name="EE4P_MAPWIZARD" val="Turkey\Asia\Asia\Western Asi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0\Continent\UN Region\UN Sub Region"/>
  <p:tag name="EE4P_MAPWIZARD" val="Taiwan\Asia\Asia\Eastern Asi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Z"/>
  <p:tag name="EE4P_MAPWIZARD_HEADINGS" val="Admin 0\Continent\UN Region\UN Sub Region"/>
  <p:tag name="EE4P_MAPWIZARD" val="United Republic of Tanzania\Africa\Africa\Eastern Afric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G"/>
  <p:tag name="EE4P_MAPWIZARD_HEADINGS" val="Admin 0\Continent\UN Region\UN Sub Region"/>
  <p:tag name="EE4P_MAPWIZARD" val="Uganda\Africa\Africa\Eastern Afric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\Continent\UN Region\UN Sub Region"/>
  <p:tag name="EE4P_MAPWIZARD" val="Ukraine\Europe\Europe\Eastern Europ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Z"/>
  <p:tag name="EE4P_MAPWIZARD_HEADINGS" val="Admin 0\Continent\UN Region\UN Sub Region"/>
  <p:tag name="EE4P_MAPWIZARD" val="Uzbekistan\Asia\Asia\Central Asi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N"/>
  <p:tag name="EE4P_MAPWIZARD_HEADINGS" val="Admin 0\Continent\UN Region\UN Sub Region"/>
  <p:tag name="EE4P_MAPWIZARD" val="Vietnam\Asia\Asia\South-Eastern As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C"/>
  <p:tag name="EE4P_MAPWIZARD_HEADINGS" val="Admin 0\Continent\UN Region\UN Sub Region"/>
  <p:tag name="EE4P_MAPWIZARD" val="Ecuador\South America\Americas\South Americ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U"/>
  <p:tag name="EE4P_MAPWIZARD_HEADINGS" val="Admin 0\Continent\UN Region\UN Sub Region"/>
  <p:tag name="EE4P_MAPWIZARD" val="Vanuatu\Oceania\Oceania\Melanesi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E"/>
  <p:tag name="EE4P_MAPWIZARD_HEADINGS" val="Admin 0\Continent\UN Region\UN Sub Region"/>
  <p:tag name="EE4P_MAPWIZARD" val="Yemen\Asia\Asia\Western Asi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A"/>
  <p:tag name="EE4P_MAPWIZARD_HEADINGS" val="Admin 0\Continent\UN Region\UN Sub Region"/>
  <p:tag name="EE4P_MAPWIZARD" val="South Africa\Africa\Africa\Southern Afric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M"/>
  <p:tag name="EE4P_MAPWIZARD_HEADINGS" val="Admin 0\Continent\UN Region\UN Sub Region"/>
  <p:tag name="EE4P_MAPWIZARD" val="Zambia\Africa\Africa\Eastern Afric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W"/>
  <p:tag name="EE4P_MAPWIZARD_HEADINGS" val="Admin 0\Continent\UN Region\UN Sub Region"/>
  <p:tag name="EE4P_MAPWIZARD" val="Zimbabwe\Africa\Africa\Eastern Afric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J"/>
  <p:tag name="EE4P_MAPWIZARD_HEADINGS" val="Admin 0\Continent\UN Region\UN Sub Region"/>
  <p:tag name="EE4P_MAPWIZARD" val="Fiji\Oceania\Oceania\Melanesi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T"/>
  <p:tag name="EE4P_MAPWIZARD_HEADINGS" val="Admin 0\Continent\UN Region\UN Sub Region"/>
  <p:tag name="EE4P_MAPWIZARD" val="Guatemala\North America\Americas\Central Ameri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Y"/>
  <p:tag name="EE4P_MAPWIZARD_HEADINGS" val="Admin 0\Continent\UN Region\UN Sub Region"/>
  <p:tag name="EE4P_MAPWIZARD" val="Guyana\South America\Americas\South Ameri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N"/>
  <p:tag name="EE4P_MAPWIZARD_HEADINGS" val="Admin 0\Continent\UN Region\UN Sub Region"/>
  <p:tag name="EE4P_MAPWIZARD" val="Honduras\North America\Americas\Central Ameri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0\Continent\UN Region\UN Sub Region"/>
  <p:tag name="EE4P_MAPWIZARD" val="Haiti\North America\Americas\Caribbea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M"/>
  <p:tag name="EE4P_MAPWIZARD_HEADINGS" val="Admin 0\Continent\UN Region\UN Sub Region"/>
  <p:tag name="EE4P_MAPWIZARD" val="Jamaica\North America\Americas\Caribbea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X"/>
  <p:tag name="EE4P_MAPWIZARD_HEADINGS" val="Admin 0\Continent\UN Region\UN Sub Region"/>
  <p:tag name="EE4P_MAPWIZARD" val="Mexico\North America\Americas\Central Ameri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I"/>
  <p:tag name="EE4P_MAPWIZARD_HEADINGS" val="Admin 0\Continent\UN Region\UN Sub Region"/>
  <p:tag name="EE4P_MAPWIZARD" val="Nicaragua\North America\Americas\Central Ameri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A"/>
  <p:tag name="EE4P_MAPWIZARD_HEADINGS" val="Admin 0\Continent\UN Region\UN Sub Region"/>
  <p:tag name="EE4P_MAPWIZARD" val="Panama\North America\Americas\Central Ameri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0\Continent\UN Region\UN Sub Region"/>
  <p:tag name="EE4P_MAPWIZARD" val="Peru\South America\Americas\South Ameri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Y"/>
  <p:tag name="EE4P_MAPWIZARD_HEADINGS" val="Admin 0\Continent\UN Region\UN Sub Region"/>
  <p:tag name="EE4P_MAPWIZARD" val="Paraguay\South America\Americas\South Ameri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V"/>
  <p:tag name="EE4P_MAPWIZARD_HEADINGS" val="Admin 0\Continent\UN Region\UN Sub Region"/>
  <p:tag name="EE4P_MAPWIZARD" val="El Salvador\North America\Americas\Central Americ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0\Continent\UN Region\UN Sub Region"/>
  <p:tag name="EE4P_MAPWIZARD" val="Suriname\South America\Americas\South Ameri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T"/>
  <p:tag name="EE4P_MAPWIZARD_HEADINGS" val="Admin 0\Continent\UN Region\UN Sub Region"/>
  <p:tag name="EE4P_MAPWIZARD" val="Trinidad and Tobago\North America\Americas\Caribbea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Y"/>
  <p:tag name="EE4P_MAPWIZARD_HEADINGS" val="Admin 0\Continent\UN Region\UN Sub Region"/>
  <p:tag name="EE4P_MAPWIZARD" val="Uruguay\South America\Americas\South Ameri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E"/>
  <p:tag name="EE4P_MAPWIZARD_HEADINGS" val="Admin 0\Continent\UN Region\UN Sub Region"/>
  <p:tag name="EE4P_MAPWIZARD" val="Venezuela\South America\Americas\South Ameri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F"/>
  <p:tag name="EE4P_MAPWIZARD_HEADINGS" val="Admin 0\Continent\UN Region\UN Sub Region"/>
  <p:tag name="EE4P_MAPWIZARD" val="Afghanistan\Asia\Asia\Southern As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O"/>
  <p:tag name="EE4P_MAPWIZARD_HEADINGS" val="Admin 0\Continent\UN Region\UN Sub Region"/>
  <p:tag name="EE4P_MAPWIZARD" val="Angola\Africa\Africa\Middle Afri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\Continent\UN Region\UN Sub Region"/>
  <p:tag name="EE4P_MAPWIZARD" val="Albania\Europe\Europe\Southern Euro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E"/>
  <p:tag name="EE4P_MAPWIZARD_HEADINGS" val="Admin 0\Continent\UN Region\UN Sub Region"/>
  <p:tag name="EE4P_MAPWIZARD" val="United Arab Emirates\Asia\Asia\Western As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0\Continent\UN Region\UN Sub Region"/>
  <p:tag name="EE4P_MAPWIZARD" val="Armenia\Asia\Asia\Western As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U"/>
  <p:tag name="EE4P_MAPWIZARD_HEADINGS" val="Admin 0\Continent\UN Region\UN Sub Region"/>
  <p:tag name="EE4P_MAPWIZARD" val="Australia\Oceania\Oceania\Australia and New Zealan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\Continent\UN Region\UN Sub Region"/>
  <p:tag name="EE4P_MAPWIZARD" val="Austria\Europe\Europe\Western Euro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Z"/>
  <p:tag name="EE4P_MAPWIZARD_HEADINGS" val="Admin 0\Continent\UN Region\UN Sub Region"/>
  <p:tag name="EE4P_MAPWIZARD" val="Azerbaijan\Asia\Asia\Western As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I"/>
  <p:tag name="EE4P_MAPWIZARD_HEADINGS" val="Admin 0\Continent\UN Region\UN Sub Region"/>
  <p:tag name="EE4P_MAPWIZARD" val="Burundi\Africa\Africa\Eastern Afri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\Continent\UN Region\UN Sub Region"/>
  <p:tag name="EE4P_MAPWIZARD" val="Belgium\Europe\Europe\Western Euro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0\Continent\UN Region\UN Sub Region"/>
  <p:tag name="EE4P_MAPWIZARD" val="Benin\Africa\Africa\Western Afri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0\Continent\UN Region\UN Sub Region"/>
  <p:tag name="EE4P_MAPWIZARD" val="Burkina Faso\Africa\Africa\Western Afri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0\Continent\UN Region\UN Sub Region"/>
  <p:tag name="EE4P_MAPWIZARD" val="Bangladesh\Asia\Asia\Southern As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\Continent\UN Region\UN Sub Region"/>
  <p:tag name="EE4P_MAPWIZARD" val="Bulgaria\Europe\Europe\Eastern Euro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\Continent\UN Region\UN Sub Region"/>
  <p:tag name="EE4P_MAPWIZARD" val="Bosnia and Herzegovina\Europe\Europe\Southern Euro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\Continent\UN Region\UN Sub Region"/>
  <p:tag name="EE4P_MAPWIZARD" val="Belarus\Europe\Europe\Eastern Europ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0\Continent\UN Region\UN Sub Region"/>
  <p:tag name="EE4P_MAPWIZARD" val="Brunei\Asia\Asia\South-Eastern As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T"/>
  <p:tag name="EE4P_MAPWIZARD_HEADINGS" val="Admin 0\Continent\UN Region\UN Sub Region"/>
  <p:tag name="EE4P_MAPWIZARD" val="Bhutan\Asia\Asia\Southern As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0\Continent\UN Region\UN Sub Region"/>
  <p:tag name="EE4P_MAPWIZARD" val="Botswana\Africa\Africa\Southern Afri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0\Continent\UN Region\UN Sub Region"/>
  <p:tag name="EE4P_MAPWIZARD" val="Central African Republic\Africa\Africa\Middle Afri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0\Continent\UN Region\UN Sub Region"/>
  <p:tag name="EE4P_MAPWIZARD" val="China\Asia\Asia\Eastern As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\Continent\UN Region\UN Sub Region"/>
  <p:tag name="EE4P_MAPWIZARD" val="Switzerland\Europe\Europe\Western Euro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0\Continent\UN Region\UN Sub Region"/>
  <p:tag name="EE4P_MAPWIZARD" val="Ivory Coast\Africa\Africa\Western Afri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0\Continent\UN Region\UN Sub Region"/>
  <p:tag name="EE4P_MAPWIZARD" val="Cameroon\Africa\Africa\Middle Afri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0\Continent\UN Region\UN Sub Region"/>
  <p:tag name="EE4P_MAPWIZARD" val="Argentina\South America\Americas\South Ameri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D"/>
  <p:tag name="EE4P_MAPWIZARD_HEADINGS" val="Admin 0\Continent\UN Region\UN Sub Region"/>
  <p:tag name="EE4P_MAPWIZARD" val="Democratic Republic of the Congo\Africa\Africa\Middle Afri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G"/>
  <p:tag name="EE4P_MAPWIZARD_HEADINGS" val="Admin 0\Continent\UN Region\UN Sub Region"/>
  <p:tag name="EE4P_MAPWIZARD" val="Republic of Congo\Africa\Africa\Middle Afri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Northern Cyprus\Asia\Asia\Western As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Cyprus\Asia\Asia\Western As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\Continent\UN Region\UN Sub Region"/>
  <p:tag name="EE4P_MAPWIZARD" val="Czech Republic\Europe\Europe\Eastern Euro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\Continent\UN Region\UN Sub Region"/>
  <p:tag name="EE4P_MAPWIZARD" val="Germany\Europe\Europe\Western Euro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J"/>
  <p:tag name="EE4P_MAPWIZARD_HEADINGS" val="Admin 0\Continent\UN Region\UN Sub Region"/>
  <p:tag name="EE4P_MAPWIZARD" val="Djibouti\Africa\Africa\Eastern Afri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Z"/>
  <p:tag name="EE4P_MAPWIZARD_HEADINGS" val="Admin 0\Continent\UN Region\UN Sub Region"/>
  <p:tag name="EE4P_MAPWIZARD" val="Algeria\Africa\Africa\Northern Afri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0\Continent\UN Region\UN Sub Region"/>
  <p:tag name="EE4P_MAPWIZARD" val="Egypt\Africa\Africa\Northern Afric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0\Continent\UN Region\UN Sub Region"/>
  <p:tag name="EE4P_MAPWIZARD" val="Eritrea\Africa\Africa\Eastern Afri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0\Continent\UN Region\UN Sub Region"/>
  <p:tag name="EE4P_MAPWIZARD" val="The Bahamas\North America\Americas\Caribbea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"/>
  <p:tag name="EE4P_MAPWIZARD" val="Spain\Europe\Europe\Southern Euro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\Continent\UN Region\UN Sub Region"/>
  <p:tag name="EE4P_MAPWIZARD" val="Estonia\Europe\Europe\Northern Europ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T"/>
  <p:tag name="EE4P_MAPWIZARD_HEADINGS" val="Admin 0\Continent\UN Region\UN Sub Region"/>
  <p:tag name="EE4P_MAPWIZARD" val="Ethiopia\Africa\Africa\Eastern Afri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\Continent\UN Region\UN Sub Region"/>
  <p:tag name="EE4P_MAPWIZARD" val="Finland\Europe\Europe\Northern Europ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0\Continent\UN Region\UN Sub Region"/>
  <p:tag name="EE4P_MAPWIZARD" val="Gabon\Africa\Africa\Middle Afri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\Continent\UN Region\UN Sub Region"/>
  <p:tag name="EE4P_MAPWIZARD" val="Georgia\Asia\Asia\Western As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H"/>
  <p:tag name="EE4P_MAPWIZARD_HEADINGS" val="Admin 0\Continent\UN Region\UN Sub Region"/>
  <p:tag name="EE4P_MAPWIZARD" val="Ghana\Africa\Africa\Western Afri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N"/>
  <p:tag name="EE4P_MAPWIZARD_HEADINGS" val="Admin 0\Continent\UN Region\UN Sub Region"/>
  <p:tag name="EE4P_MAPWIZARD" val="Guinea\Africa\Africa\Western Afric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M"/>
  <p:tag name="EE4P_MAPWIZARD_HEADINGS" val="Admin 0\Continent\UN Region\UN Sub Region"/>
  <p:tag name="EE4P_MAPWIZARD" val="Gambia\Africa\Africa\Western Afri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0\Continent\UN Region\UN Sub Region"/>
  <p:tag name="EE4P_MAPWIZARD" val="Belize\North America\Americas\Central Ameri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W"/>
  <p:tag name="EE4P_MAPWIZARD_HEADINGS" val="Admin 0\Continent\UN Region\UN Sub Region"/>
  <p:tag name="EE4P_MAPWIZARD" val="Guinea Bissau\Africa\Africa\Western Afric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Q"/>
  <p:tag name="EE4P_MAPWIZARD_HEADINGS" val="Admin 0\Continent\UN Region\UN Sub Region"/>
  <p:tag name="EE4P_MAPWIZARD" val="Equatorial Guinea\Africa\Africa\Middle Afric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\Continent\UN Region\UN Sub Region"/>
  <p:tag name="EE4P_MAPWIZARD" val="Greece\Europe\Europe\Southern Europ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\Continent\UN Region\UN Sub Region"/>
  <p:tag name="EE4P_MAPWIZARD" val="Croatia\Europe\Europe\Southern Euro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\Continent\UN Region\UN Sub Region"/>
  <p:tag name="EE4P_MAPWIZARD" val="Hungary\Europe\Europe\Eastern Europ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D"/>
  <p:tag name="EE4P_MAPWIZARD_HEADINGS" val="Admin 0\Continent\UN Region\UN Sub Region"/>
  <p:tag name="EE4P_MAPWIZARD" val="Indonesia\Asia\Asia\South-Eastern As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N"/>
  <p:tag name="EE4P_MAPWIZARD_HEADINGS" val="Admin 0\Continent\UN Region\UN Sub Region"/>
  <p:tag name="EE4P_MAPWIZARD" val="India\Asia\Asia\Southern Asi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\Continent\UN Region\UN Sub Region"/>
  <p:tag name="EE4P_MAPWIZARD" val="Ireland\Europe\Europe\Northern Europ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R"/>
  <p:tag name="EE4P_MAPWIZARD_HEADINGS" val="Admin 0\Continent\UN Region\UN Sub Region"/>
  <p:tag name="EE4P_MAPWIZARD" val="Iran\Asia\Asia\Southern As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\Continent\UN Region\UN Sub Region"/>
  <p:tag name="EE4P_MAPWIZARD" val="Iraq\Asia\Asia\Western As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0\Continent\UN Region\UN Sub Region"/>
  <p:tag name="EE4P_MAPWIZARD" val="Bolivia\South America\Americas\South Americ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\Continent\UN Region\UN Sub Region"/>
  <p:tag name="EE4P_MAPWIZARD" val="Iceland\Europe\Europe\Northern Europ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L"/>
  <p:tag name="EE4P_MAPWIZARD_HEADINGS" val="Admin 0\Continent\UN Region\UN Sub Region"/>
  <p:tag name="EE4P_MAPWIZARD" val="Israel\Asia\Asia\Western Asi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"/>
  <p:tag name="EE4P_MAPWIZARD" val="Italy\Europe\Europe\Southern Euro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O"/>
  <p:tag name="EE4P_MAPWIZARD_HEADINGS" val="Admin 0\Continent\UN Region\UN Sub Region"/>
  <p:tag name="EE4P_MAPWIZARD" val="Jordan\Asia\Asia\Western As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P"/>
  <p:tag name="EE4P_MAPWIZARD_HEADINGS" val="Admin 0\Continent\UN Region\UN Sub Region"/>
  <p:tag name="EE4P_MAPWIZARD" val="Japan\Asia\Asia\Eastern Asi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Z"/>
  <p:tag name="EE4P_MAPWIZARD_HEADINGS" val="Admin 0\Continent\UN Region\UN Sub Region"/>
  <p:tag name="EE4P_MAPWIZARD" val="Kazakhstan\Asia\Asia\Central As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0\Continent\UN Region\UN Sub Region"/>
  <p:tag name="EE4P_MAPWIZARD" val="Kenya\Africa\Africa\Eastern Afric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G"/>
  <p:tag name="EE4P_MAPWIZARD_HEADINGS" val="Admin 0\Continent\UN Region\UN Sub Region"/>
  <p:tag name="EE4P_MAPWIZARD" val="Kyrgyzstan\Asia\Asia\Central As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0\Continent\UN Region\UN Sub Region"/>
  <p:tag name="EE4P_MAPWIZARD" val="Cambodia\Asia\Asia\South-Eastern Asi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R"/>
  <p:tag name="EE4P_MAPWIZARD_HEADINGS" val="Admin 0\Continent\UN Region\UN Sub Region"/>
  <p:tag name="EE4P_MAPWIZARD" val="South Korea\Asia\Asia\Eastern Asia"/>
</p:tagLst>
</file>

<file path=ppt/theme/theme1.xml><?xml version="1.0" encoding="utf-8"?>
<a:theme xmlns:a="http://schemas.openxmlformats.org/drawingml/2006/main" name="Ontario Master 16:9">
  <a:themeElements>
    <a:clrScheme name="Ontario NEU">
      <a:dk1>
        <a:srgbClr val="000000"/>
      </a:dk1>
      <a:lt1>
        <a:sysClr val="window" lastClr="FFFFFF"/>
      </a:lt1>
      <a:dk2>
        <a:srgbClr val="FF6600"/>
      </a:dk2>
      <a:lt2>
        <a:srgbClr val="E6E6E6"/>
      </a:lt2>
      <a:accent1>
        <a:srgbClr val="59C1FF"/>
      </a:accent1>
      <a:accent2>
        <a:srgbClr val="CCECFF"/>
      </a:accent2>
      <a:accent3>
        <a:srgbClr val="808080"/>
      </a:accent3>
      <a:accent4>
        <a:srgbClr val="CCCCCC"/>
      </a:accent4>
      <a:accent5>
        <a:srgbClr val="4E4E4E"/>
      </a:accent5>
      <a:accent6>
        <a:srgbClr val="009FFF"/>
      </a:accent6>
      <a:hlink>
        <a:srgbClr val="4D4E4E"/>
      </a:hlink>
      <a:folHlink>
        <a:srgbClr val="FF6600"/>
      </a:folHlink>
    </a:clrScheme>
    <a:fontScheme name="SG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lIns="72000" tIns="72000" rIns="72000" bIns="72000" rtlCol="0" anchor="t" anchorCtr="0">
        <a:noAutofit/>
      </a:bodyPr>
      <a:lstStyle>
        <a:defPPr marL="252000" indent="-252000" algn="l">
          <a:lnSpc>
            <a:spcPct val="90000"/>
          </a:lnSpc>
          <a:spcBef>
            <a:spcPts val="0"/>
          </a:spcBef>
          <a:buFont typeface="Arial" panose="020B0604020202020204" pitchFamily="34" charset="0"/>
          <a:buChar char="•"/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 marL="252000" indent="-252000" algn="l">
          <a:lnSpc>
            <a:spcPct val="90000"/>
          </a:lnSpc>
          <a:spcBef>
            <a:spcPts val="0"/>
          </a:spcBef>
          <a:buFont typeface="Arial" panose="020B0604020202020204" pitchFamily="34" charset="0"/>
          <a:buChar char="•"/>
          <a:defRPr sz="1800" dirty="0" err="1" smtClean="0"/>
        </a:defPPr>
      </a:lstStyle>
    </a:txDef>
  </a:objectDefaults>
  <a:extraClrSchemeLst/>
  <a:custClrLst>
    <a:custClr>
      <a:srgbClr val="503C83"/>
    </a:custClr>
    <a:custClr>
      <a:srgbClr val="46AF62"/>
    </a:custClr>
    <a:custClr>
      <a:srgbClr val="F044AA"/>
    </a:custClr>
    <a:custClr>
      <a:srgbClr val="009FB4"/>
    </a:custClr>
    <a:custClr>
      <a:srgbClr val="FFE614"/>
    </a:custClr>
  </a:custClrLst>
  <a:extLst>
    <a:ext uri="{05A4C25C-085E-4340-85A3-A5531E510DB2}">
      <thm15:themeFamily xmlns:thm15="http://schemas.microsoft.com/office/thememl/2012/main" name="190917-OSR-CON-PPT Master.pptx" id="{CBCBC728-2ECB-4CA9-8843-DEE7B3E06AFA}" vid="{C2593BC5-D9F0-4A45-A93C-523ADC3E3C50}"/>
    </a:ext>
  </a:extLst>
</a:theme>
</file>

<file path=ppt/theme/theme2.xml><?xml version="1.0" encoding="utf-8"?>
<a:theme xmlns:a="http://schemas.openxmlformats.org/drawingml/2006/main" name="Office">
  <a:themeElements>
    <a:clrScheme name="Ontario">
      <a:dk1>
        <a:srgbClr val="010202"/>
      </a:dk1>
      <a:lt1>
        <a:sysClr val="window" lastClr="FFFFFF"/>
      </a:lt1>
      <a:dk2>
        <a:srgbClr val="FF6600"/>
      </a:dk2>
      <a:lt2>
        <a:srgbClr val="E6E6E6"/>
      </a:lt2>
      <a:accent1>
        <a:srgbClr val="59C1FF"/>
      </a:accent1>
      <a:accent2>
        <a:srgbClr val="CCECFF"/>
      </a:accent2>
      <a:accent3>
        <a:srgbClr val="808080"/>
      </a:accent3>
      <a:accent4>
        <a:srgbClr val="CCCCCC"/>
      </a:accent4>
      <a:accent5>
        <a:srgbClr val="4D4E4E"/>
      </a:accent5>
      <a:accent6>
        <a:srgbClr val="009FFF"/>
      </a:accent6>
      <a:hlink>
        <a:srgbClr val="4D4E4E"/>
      </a:hlink>
      <a:folHlink>
        <a:srgbClr val="FF66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6AB79D6673B24EBC51D39FB8313D50" ma:contentTypeVersion="12" ma:contentTypeDescription="Create a new document." ma:contentTypeScope="" ma:versionID="518984404638a2fc58e860ec776efa32">
  <xsd:schema xmlns:xsd="http://www.w3.org/2001/XMLSchema" xmlns:xs="http://www.w3.org/2001/XMLSchema" xmlns:p="http://schemas.microsoft.com/office/2006/metadata/properties" xmlns:ns2="296bd5c8-b1cd-4f83-8b03-3da87eacd5ef" xmlns:ns3="6ab2c648-f9ad-46f2-8707-f205f5f2eba8" targetNamespace="http://schemas.microsoft.com/office/2006/metadata/properties" ma:root="true" ma:fieldsID="51d08d8f0211df5cf220561ba7d0f86b" ns2:_="" ns3:_="">
    <xsd:import namespace="296bd5c8-b1cd-4f83-8b03-3da87eacd5ef"/>
    <xsd:import namespace="6ab2c648-f9ad-46f2-8707-f205f5f2eb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6bd5c8-b1cd-4f83-8b03-3da87eacd5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b2c648-f9ad-46f2-8707-f205f5f2eba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3F2EAF-7774-4C43-9F03-ADDE3D9FF75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8909106-0CCF-4D12-BAD5-9A99E13D59C4}">
  <ds:schemaRefs>
    <ds:schemaRef ds:uri="46769c20-c214-4f44-8bdd-992c28f9a313"/>
    <ds:schemaRef ds:uri="http://purl.org/dc/elements/1.1/"/>
    <ds:schemaRef ds:uri="http://schemas.microsoft.com/office/2006/metadata/properties"/>
    <ds:schemaRef ds:uri="e0a4522c-ec89-4917-acd6-ab401e3aebd4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0F2A4E1-1042-4D58-B32A-6DD60F1380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6bd5c8-b1cd-4f83-8b03-3da87eacd5ef"/>
    <ds:schemaRef ds:uri="6ab2c648-f9ad-46f2-8707-f205f5f2eba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478</TotalTime>
  <Words>647</Words>
  <Application>Microsoft Office PowerPoint</Application>
  <PresentationFormat>Widescreen</PresentationFormat>
  <Paragraphs>170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Arial-BoldMT</vt:lpstr>
      <vt:lpstr>Calibri</vt:lpstr>
      <vt:lpstr>Wingdings</vt:lpstr>
      <vt:lpstr>Ontario Master 16:9</vt:lpstr>
      <vt:lpstr>think-cell Folie</vt:lpstr>
      <vt:lpstr>OSRAM CONTINENTAL ROMANIA</vt:lpstr>
      <vt:lpstr>OSRAM Continental GmbH Two Strong Partners Combine Competencies</vt:lpstr>
      <vt:lpstr>PowerPoint Presentation</vt:lpstr>
      <vt:lpstr>PowerPoint Presentation</vt:lpstr>
      <vt:lpstr>No intelligent light without OSRAM Continental</vt:lpstr>
      <vt:lpstr>PowerPoint Presentation</vt:lpstr>
      <vt:lpstr>Iasi Romania</vt:lpstr>
      <vt:lpstr>Osram Continental Romania</vt:lpstr>
      <vt:lpstr>Iasi office building</vt:lpstr>
      <vt:lpstr>Competency Overview</vt:lpstr>
      <vt:lpstr>OSRAM CONTINENTAL Romania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-Master</dc:subject>
  <dc:creator>Dodoloi Daria</dc:creator>
  <cp:keywords/>
  <dc:description>Optimized for PowerPoint 2016</dc:description>
  <cp:lastModifiedBy>Salcianu Monica</cp:lastModifiedBy>
  <cp:revision>23</cp:revision>
  <dcterms:created xsi:type="dcterms:W3CDTF">2020-07-03T11:51:45Z</dcterms:created>
  <dcterms:modified xsi:type="dcterms:W3CDTF">2021-04-20T12:33:44Z</dcterms:modified>
  <cp:category>PowerPoint-Mast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6AB79D6673B24EBC51D39FB8313D50</vt:lpwstr>
  </property>
</Properties>
</file>